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embedTrueTypeFonts="1">
  <p:sldMasterIdLst>
    <p:sldMasterId id="2147483672" r:id="rId1"/>
  </p:sldMasterIdLst>
  <p:notesMasterIdLst>
    <p:notesMasterId r:id="rId7"/>
  </p:notesMasterIdLst>
  <p:sldIdLst>
    <p:sldId id="256" r:id="rId2"/>
    <p:sldId id="307" r:id="rId3"/>
    <p:sldId id="311" r:id="rId4"/>
    <p:sldId id="309" r:id="rId5"/>
    <p:sldId id="308" r:id="rId6"/>
  </p:sldIdLst>
  <p:sldSz cx="9144000" cy="6858000" type="screen4x3"/>
  <p:notesSz cx="6797675" cy="9926638"/>
  <p:embeddedFontLst>
    <p:embeddedFont>
      <p:font typeface="Technika" panose="020B0604020202020204" charset="-18"/>
      <p:regular r:id="rId8"/>
      <p:bold r:id="rId9"/>
      <p:italic r:id="rId10"/>
      <p:boldItalic r:id="rId11"/>
    </p:embeddedFont>
    <p:embeddedFont>
      <p:font typeface="Technika-Bold" panose="00000600000000000000" charset="-18"/>
      <p:regular r:id="rId12"/>
    </p:embeddedFont>
    <p:embeddedFont>
      <p:font typeface="Calibri" panose="020F0502020204030204" pitchFamily="34" charset="0"/>
      <p:regular r:id="rId13"/>
      <p:bold r:id="rId14"/>
      <p:italic r:id="rId15"/>
      <p:boldItalic r:id="rId16"/>
    </p:embeddedFont>
  </p:embeddedFontLst>
  <p:custDataLst>
    <p:tags r:id="rId1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D6A1948-4FED-4658-B4CC-38371546D846}">
          <p14:sldIdLst>
            <p14:sldId id="256"/>
            <p14:sldId id="307"/>
            <p14:sldId id="311"/>
            <p14:sldId id="309"/>
            <p14:sldId id="308"/>
          </p14:sldIdLst>
        </p14:section>
        <p14:section name="Analysis" id="{52C9AC46-E335-43CB-A8BC-91DD97DD8E8E}">
          <p14:sldIdLst/>
        </p14:section>
        <p14:section name="Development" id="{75BCC440-8BB1-4477-BE93-38A0687BA19E}">
          <p14:sldIdLst/>
        </p14:section>
        <p14:section name="Testing" id="{54E20A49-CE7C-49C4-9E53-47302E683C92}">
          <p14:sldIdLst/>
        </p14:section>
        <p14:section name="Final" id="{F67AE7F7-9C4A-4AAD-8DB1-568421EDA0E5}">
          <p14:sldIdLst/>
        </p14:section>
        <p14:section name="Old" id="{64373762-BFBB-4C3D-8FEC-C8D6DA599794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207" userDrawn="1">
          <p15:clr>
            <a:srgbClr val="A4A3A4"/>
          </p15:clr>
        </p15:guide>
        <p15:guide id="2" pos="285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563C1"/>
    <a:srgbClr val="4472C4"/>
    <a:srgbClr val="9B9B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497" autoAdjust="0"/>
    <p:restoredTop sz="94660"/>
  </p:normalViewPr>
  <p:slideViewPr>
    <p:cSldViewPr snapToGrid="0" snapToObjects="1">
      <p:cViewPr varScale="1">
        <p:scale>
          <a:sx n="71" d="100"/>
          <a:sy n="71" d="100"/>
        </p:scale>
        <p:origin x="906" y="60"/>
      </p:cViewPr>
      <p:guideLst>
        <p:guide orient="horz" pos="1207"/>
        <p:guide pos="285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font" Target="fonts/font6.fntdata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notesMaster" Target="notesMasters/notesMaster1.xml"/><Relationship Id="rId12" Type="http://schemas.openxmlformats.org/officeDocument/2006/relationships/font" Target="fonts/font5.fntdata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font" Target="fonts/font9.fntdata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4.fntdata"/><Relationship Id="rId5" Type="http://schemas.openxmlformats.org/officeDocument/2006/relationships/slide" Target="slides/slide4.xml"/><Relationship Id="rId15" Type="http://schemas.openxmlformats.org/officeDocument/2006/relationships/font" Target="fonts/font8.fntdata"/><Relationship Id="rId10" Type="http://schemas.openxmlformats.org/officeDocument/2006/relationships/font" Target="fonts/font3.fntdata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font" Target="fonts/font2.fntdata"/><Relationship Id="rId14" Type="http://schemas.openxmlformats.org/officeDocument/2006/relationships/font" Target="fonts/font7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2799A2-967B-4B6D-8BF4-047FB8CEA12E}" type="datetimeFigureOut">
              <a:rPr lang="cs-CZ" smtClean="0"/>
              <a:t>7.1.2018</a:t>
            </a:fld>
            <a:endParaRPr lang="cs-CZ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5225" y="1241425"/>
            <a:ext cx="44672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2C11A7-7AF1-4518-86F0-D8E17514D66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771074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81463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9095"/>
          <a:stretch/>
        </p:blipFill>
        <p:spPr>
          <a:xfrm>
            <a:off x="0" y="2"/>
            <a:ext cx="10076688" cy="68688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80000" y="1800001"/>
            <a:ext cx="7736694" cy="1446663"/>
          </a:xfrm>
        </p:spPr>
        <p:txBody>
          <a:bodyPr anchor="t"/>
          <a:lstStyle>
            <a:lvl1pPr algn="l">
              <a:defRPr lang="cs-CZ" sz="4800" b="1" i="0" u="none" strike="noStrike" kern="4800" baseline="0" smtClean="0">
                <a:solidFill>
                  <a:schemeClr val="bg1"/>
                </a:solidFill>
                <a:latin typeface="Technika-Bold" panose="00000600000000000000" pitchFamily="50" charset="-18"/>
              </a:defRPr>
            </a:lvl1pPr>
          </a:lstStyle>
          <a:p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TITUL PREZENTACE</a:t>
            </a:r>
            <a:br>
              <a:rPr lang="cs-CZ" sz="4800" b="1" i="0" u="none" strike="noStrike" baseline="0" dirty="0">
                <a:latin typeface="Technika-Bold" panose="00000600000000000000" pitchFamily="50" charset="-18"/>
              </a:rPr>
            </a:br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PODTITUL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441732"/>
            <a:ext cx="7736693" cy="1771721"/>
          </a:xfrm>
        </p:spPr>
        <p:txBody>
          <a:bodyPr/>
          <a:lstStyle>
            <a:lvl1pPr marL="0" indent="0" algn="l">
              <a:buNone/>
              <a:defRPr lang="cs-CZ" sz="2400" b="1" i="0" u="none" strike="noStrike" kern="2800" baseline="0" smtClean="0">
                <a:solidFill>
                  <a:schemeClr val="bg1"/>
                </a:solidFill>
                <a:latin typeface="Technika-Bold" panose="00000600000000000000" pitchFamily="50" charset="-18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cs-CZ" dirty="0"/>
              <a:t>NÁZEV FAKULTY A PRACOVIŠTĚ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AUTOR/TITUL JMÉNO PŘÍJMENÍ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DATUM</a:t>
            </a: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03" y="274320"/>
            <a:ext cx="1773814" cy="863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904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1274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9256" b="9239"/>
          <a:stretch/>
        </p:blipFill>
        <p:spPr>
          <a:xfrm>
            <a:off x="0" y="2"/>
            <a:ext cx="9144000" cy="6857999"/>
          </a:xfrm>
          <a:custGeom>
            <a:avLst/>
            <a:gdLst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7999">
                <a:moveTo>
                  <a:pt x="0" y="0"/>
                </a:moveTo>
                <a:lnTo>
                  <a:pt x="9144000" y="0"/>
                </a:lnTo>
                <a:lnTo>
                  <a:pt x="9144000" y="6857999"/>
                </a:lnTo>
                <a:lnTo>
                  <a:pt x="0" y="6857999"/>
                </a:lnTo>
                <a:close/>
              </a:path>
            </a:pathLst>
          </a:custGeom>
        </p:spPr>
      </p:pic>
      <p:pic>
        <p:nvPicPr>
          <p:cNvPr id="7" name="Picture 2" descr="https://www.email.cz/download/i/J_cdaADwWifiayZrAXd9jpkdWor_gYe_4QlhA3zsTzSB0jpv76wY4UUYT-LRJNvubDBn-to/logo_cvut.jp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01" y="274320"/>
            <a:ext cx="1770611" cy="86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080000" y="1800001"/>
            <a:ext cx="7736694" cy="1446663"/>
          </a:xfrm>
        </p:spPr>
        <p:txBody>
          <a:bodyPr anchor="t"/>
          <a:lstStyle>
            <a:lvl1pPr algn="l">
              <a:defRPr lang="cs-CZ" sz="4800" b="1" i="0" u="none" strike="noStrike" kern="4800" baseline="0" smtClean="0">
                <a:solidFill>
                  <a:schemeClr val="tx1"/>
                </a:solidFill>
                <a:latin typeface="Technika-Bold" panose="00000600000000000000" pitchFamily="50" charset="-18"/>
              </a:defRPr>
            </a:lvl1pPr>
          </a:lstStyle>
          <a:p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TITUL PREZENTACE</a:t>
            </a:r>
            <a:br>
              <a:rPr lang="cs-CZ" sz="4800" b="1" i="0" u="none" strike="noStrike" baseline="0" dirty="0">
                <a:latin typeface="Technika-Bold" panose="00000600000000000000" pitchFamily="50" charset="-18"/>
              </a:rPr>
            </a:br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PODTITUL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441732"/>
            <a:ext cx="7736693" cy="1771721"/>
          </a:xfrm>
        </p:spPr>
        <p:txBody>
          <a:bodyPr/>
          <a:lstStyle>
            <a:lvl1pPr marL="0" indent="0" algn="l">
              <a:buNone/>
              <a:defRPr lang="cs-CZ" sz="2400" b="1" i="0" u="none" strike="noStrike" kern="2800" baseline="0" smtClean="0">
                <a:solidFill>
                  <a:schemeClr val="tx1"/>
                </a:solidFill>
                <a:latin typeface="Technika-Bold" panose="00000600000000000000" pitchFamily="50" charset="-18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cs-CZ" dirty="0"/>
              <a:t>NÁZEV FAKULTY A PRACOVIŠTĚ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AUTOR/TITUL JMÉNO PŘÍJMENÍ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DATUM</a:t>
            </a:r>
          </a:p>
        </p:txBody>
      </p:sp>
    </p:spTree>
    <p:extLst>
      <p:ext uri="{BB962C8B-B14F-4D97-AF65-F5344CB8AC3E}">
        <p14:creationId xmlns:p14="http://schemas.microsoft.com/office/powerpoint/2010/main" val="10571671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079999" y="3059766"/>
            <a:ext cx="7794000" cy="3528000"/>
          </a:xfrm>
        </p:spPr>
        <p:txBody>
          <a:bodyPr>
            <a:normAutofit/>
          </a:bodyPr>
          <a:lstStyle>
            <a:lvl1pPr marL="0" indent="0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TEXT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68480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177198" y="1800001"/>
            <a:ext cx="7696800" cy="4788000"/>
          </a:xfrm>
        </p:spPr>
        <p:txBody>
          <a:bodyPr>
            <a:normAutofit/>
          </a:bodyPr>
          <a:lstStyle>
            <a:lvl1pPr marL="0" indent="0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OBRÁZ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41999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 userDrawn="1"/>
        </p:nvSpPr>
        <p:spPr>
          <a:xfrm>
            <a:off x="2067641" y="368300"/>
            <a:ext cx="6888707" cy="1228488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70000" y="270000"/>
            <a:ext cx="8604000" cy="6318000"/>
          </a:xfrm>
        </p:spPr>
        <p:txBody>
          <a:bodyPr>
            <a:normAutofit/>
          </a:bodyPr>
          <a:lstStyle>
            <a:lvl1pPr marL="0" indent="0" algn="ctr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OBRÁZ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7334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cs-CZ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22030" y="1508760"/>
            <a:ext cx="8305566" cy="4590288"/>
          </a:xfrm>
        </p:spPr>
        <p:txBody>
          <a:bodyPr lIns="0" tIns="0" rIns="0" bIns="0"/>
          <a:lstStyle>
            <a:lvl1pPr>
              <a:spcBef>
                <a:spcPts val="354"/>
              </a:spcBef>
              <a:defRPr/>
            </a:lvl1pPr>
            <a:lvl2pPr marL="422041" indent="-212682">
              <a:spcBef>
                <a:spcPts val="354"/>
              </a:spcBef>
              <a:defRPr/>
            </a:lvl2pPr>
            <a:lvl3pPr marL="844083" indent="-212682">
              <a:spcBef>
                <a:spcPts val="354"/>
              </a:spcBef>
              <a:defRPr/>
            </a:lvl3pPr>
            <a:lvl4pPr marL="1269447" indent="-216005">
              <a:spcBef>
                <a:spcPts val="354"/>
              </a:spcBef>
              <a:defRPr/>
            </a:lvl4pPr>
            <a:lvl5pPr marL="1900848" indent="-212682">
              <a:spcBef>
                <a:spcPts val="35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4712515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5036225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040612" y="274320"/>
            <a:ext cx="6705823" cy="86348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80000" y="2880000"/>
            <a:ext cx="7794000" cy="3708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Upravte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pic>
        <p:nvPicPr>
          <p:cNvPr id="1026" name="Picture 2" descr="https://www.email.cz/download/i/J_cdaADwWifiayZrAXd9jpkdWor_gYe_4QlhA3zsTzSB0jpv76wY4UUYT-LRJNvubDBn-to/logo_cvut.jp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01" y="274320"/>
            <a:ext cx="1770611" cy="86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 userDrawn="1"/>
        </p:nvSpPr>
        <p:spPr>
          <a:xfrm>
            <a:off x="270001" y="6368156"/>
            <a:ext cx="48453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 err="1" smtClean="0"/>
              <a:t>Staffr</a:t>
            </a:r>
            <a:r>
              <a:rPr lang="cs-CZ" sz="1400" baseline="0" dirty="0" smtClean="0"/>
              <a:t> status </a:t>
            </a:r>
            <a:r>
              <a:rPr lang="cs-CZ" sz="1400" baseline="0" dirty="0" err="1" smtClean="0"/>
              <a:t>presentation</a:t>
            </a:r>
            <a:r>
              <a:rPr lang="cs-CZ" sz="1400" baseline="0" dirty="0" smtClean="0"/>
              <a:t> v1, </a:t>
            </a:r>
            <a:r>
              <a:rPr lang="cs-CZ" sz="1400" baseline="0" dirty="0" err="1" smtClean="0"/>
              <a:t>October</a:t>
            </a:r>
            <a:r>
              <a:rPr lang="cs-CZ" sz="1400" baseline="0" dirty="0" smtClean="0"/>
              <a:t> 5 2017</a:t>
            </a:r>
            <a:endParaRPr lang="cs-CZ" sz="1400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6369340" y="6368156"/>
            <a:ext cx="25046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dirty="0" err="1" smtClean="0"/>
              <a:t>Slide</a:t>
            </a:r>
            <a:r>
              <a:rPr lang="cs-CZ" sz="1400" dirty="0" smtClean="0"/>
              <a:t> </a:t>
            </a:r>
            <a:fld id="{72775F78-C73D-4CBF-9655-388C65220E8D}" type="slidenum">
              <a:rPr lang="cs-CZ" sz="1400" smtClean="0"/>
              <a:t>‹#›</a:t>
            </a:fld>
            <a:endParaRPr lang="cs-CZ" sz="1400" dirty="0"/>
          </a:p>
        </p:txBody>
      </p:sp>
    </p:spTree>
    <p:extLst>
      <p:ext uri="{BB962C8B-B14F-4D97-AF65-F5344CB8AC3E}">
        <p14:creationId xmlns:p14="http://schemas.microsoft.com/office/powerpoint/2010/main" val="6354365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6" r:id="rId2"/>
    <p:sldLayoutId id="2147483674" r:id="rId3"/>
    <p:sldLayoutId id="2147483685" r:id="rId4"/>
    <p:sldLayoutId id="2147483684" r:id="rId5"/>
    <p:sldLayoutId id="2147483687" r:id="rId6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Technika-Bold" panose="00000600000000000000" pitchFamily="50" charset="-18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32" userDrawn="1">
          <p15:clr>
            <a:srgbClr val="F26B43"/>
          </p15:clr>
        </p15:guide>
        <p15:guide id="2" pos="131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6" Type="http://schemas.openxmlformats.org/officeDocument/2006/relationships/tags" Target="../tags/tag31.xml"/><Relationship Id="rId21" Type="http://schemas.openxmlformats.org/officeDocument/2006/relationships/tags" Target="../tags/tag26.xml"/><Relationship Id="rId42" Type="http://schemas.openxmlformats.org/officeDocument/2006/relationships/tags" Target="../tags/tag47.xml"/><Relationship Id="rId47" Type="http://schemas.openxmlformats.org/officeDocument/2006/relationships/tags" Target="../tags/tag52.xml"/><Relationship Id="rId63" Type="http://schemas.openxmlformats.org/officeDocument/2006/relationships/tags" Target="../tags/tag68.xml"/><Relationship Id="rId68" Type="http://schemas.openxmlformats.org/officeDocument/2006/relationships/tags" Target="../tags/tag73.xml"/><Relationship Id="rId84" Type="http://schemas.openxmlformats.org/officeDocument/2006/relationships/tags" Target="../tags/tag89.xml"/><Relationship Id="rId89" Type="http://schemas.openxmlformats.org/officeDocument/2006/relationships/tags" Target="../tags/tag94.xml"/><Relationship Id="rId16" Type="http://schemas.openxmlformats.org/officeDocument/2006/relationships/tags" Target="../tags/tag21.xml"/><Relationship Id="rId11" Type="http://schemas.openxmlformats.org/officeDocument/2006/relationships/tags" Target="../tags/tag16.xml"/><Relationship Id="rId32" Type="http://schemas.openxmlformats.org/officeDocument/2006/relationships/tags" Target="../tags/tag37.xml"/><Relationship Id="rId37" Type="http://schemas.openxmlformats.org/officeDocument/2006/relationships/tags" Target="../tags/tag42.xml"/><Relationship Id="rId53" Type="http://schemas.openxmlformats.org/officeDocument/2006/relationships/tags" Target="../tags/tag58.xml"/><Relationship Id="rId58" Type="http://schemas.openxmlformats.org/officeDocument/2006/relationships/tags" Target="../tags/tag63.xml"/><Relationship Id="rId74" Type="http://schemas.openxmlformats.org/officeDocument/2006/relationships/tags" Target="../tags/tag79.xml"/><Relationship Id="rId79" Type="http://schemas.openxmlformats.org/officeDocument/2006/relationships/tags" Target="../tags/tag84.xml"/><Relationship Id="rId5" Type="http://schemas.openxmlformats.org/officeDocument/2006/relationships/tags" Target="../tags/tag10.xml"/><Relationship Id="rId90" Type="http://schemas.openxmlformats.org/officeDocument/2006/relationships/tags" Target="../tags/tag95.xml"/><Relationship Id="rId95" Type="http://schemas.openxmlformats.org/officeDocument/2006/relationships/slideLayout" Target="../slideLayouts/slideLayout6.xml"/><Relationship Id="rId22" Type="http://schemas.openxmlformats.org/officeDocument/2006/relationships/tags" Target="../tags/tag27.xml"/><Relationship Id="rId27" Type="http://schemas.openxmlformats.org/officeDocument/2006/relationships/tags" Target="../tags/tag32.xml"/><Relationship Id="rId43" Type="http://schemas.openxmlformats.org/officeDocument/2006/relationships/tags" Target="../tags/tag48.xml"/><Relationship Id="rId48" Type="http://schemas.openxmlformats.org/officeDocument/2006/relationships/tags" Target="../tags/tag53.xml"/><Relationship Id="rId64" Type="http://schemas.openxmlformats.org/officeDocument/2006/relationships/tags" Target="../tags/tag69.xml"/><Relationship Id="rId69" Type="http://schemas.openxmlformats.org/officeDocument/2006/relationships/tags" Target="../tags/tag74.xml"/><Relationship Id="rId80" Type="http://schemas.openxmlformats.org/officeDocument/2006/relationships/tags" Target="../tags/tag85.xml"/><Relationship Id="rId85" Type="http://schemas.openxmlformats.org/officeDocument/2006/relationships/tags" Target="../tags/tag90.xml"/><Relationship Id="rId3" Type="http://schemas.openxmlformats.org/officeDocument/2006/relationships/tags" Target="../tags/tag8.xml"/><Relationship Id="rId12" Type="http://schemas.openxmlformats.org/officeDocument/2006/relationships/tags" Target="../tags/tag17.xml"/><Relationship Id="rId17" Type="http://schemas.openxmlformats.org/officeDocument/2006/relationships/tags" Target="../tags/tag22.xml"/><Relationship Id="rId25" Type="http://schemas.openxmlformats.org/officeDocument/2006/relationships/tags" Target="../tags/tag30.xml"/><Relationship Id="rId33" Type="http://schemas.openxmlformats.org/officeDocument/2006/relationships/tags" Target="../tags/tag38.xml"/><Relationship Id="rId38" Type="http://schemas.openxmlformats.org/officeDocument/2006/relationships/tags" Target="../tags/tag43.xml"/><Relationship Id="rId46" Type="http://schemas.openxmlformats.org/officeDocument/2006/relationships/tags" Target="../tags/tag51.xml"/><Relationship Id="rId59" Type="http://schemas.openxmlformats.org/officeDocument/2006/relationships/tags" Target="../tags/tag64.xml"/><Relationship Id="rId67" Type="http://schemas.openxmlformats.org/officeDocument/2006/relationships/tags" Target="../tags/tag72.xml"/><Relationship Id="rId20" Type="http://schemas.openxmlformats.org/officeDocument/2006/relationships/tags" Target="../tags/tag25.xml"/><Relationship Id="rId41" Type="http://schemas.openxmlformats.org/officeDocument/2006/relationships/tags" Target="../tags/tag46.xml"/><Relationship Id="rId54" Type="http://schemas.openxmlformats.org/officeDocument/2006/relationships/tags" Target="../tags/tag59.xml"/><Relationship Id="rId62" Type="http://schemas.openxmlformats.org/officeDocument/2006/relationships/tags" Target="../tags/tag67.xml"/><Relationship Id="rId70" Type="http://schemas.openxmlformats.org/officeDocument/2006/relationships/tags" Target="../tags/tag75.xml"/><Relationship Id="rId75" Type="http://schemas.openxmlformats.org/officeDocument/2006/relationships/tags" Target="../tags/tag80.xml"/><Relationship Id="rId83" Type="http://schemas.openxmlformats.org/officeDocument/2006/relationships/tags" Target="../tags/tag88.xml"/><Relationship Id="rId88" Type="http://schemas.openxmlformats.org/officeDocument/2006/relationships/tags" Target="../tags/tag93.xml"/><Relationship Id="rId91" Type="http://schemas.openxmlformats.org/officeDocument/2006/relationships/tags" Target="../tags/tag96.xml"/><Relationship Id="rId96" Type="http://schemas.openxmlformats.org/officeDocument/2006/relationships/notesSlide" Target="../notesSlides/notesSlide1.xml"/><Relationship Id="rId1" Type="http://schemas.openxmlformats.org/officeDocument/2006/relationships/vmlDrawing" Target="../drawings/vmlDrawing5.vml"/><Relationship Id="rId6" Type="http://schemas.openxmlformats.org/officeDocument/2006/relationships/tags" Target="../tags/tag11.xml"/><Relationship Id="rId15" Type="http://schemas.openxmlformats.org/officeDocument/2006/relationships/tags" Target="../tags/tag20.xml"/><Relationship Id="rId23" Type="http://schemas.openxmlformats.org/officeDocument/2006/relationships/tags" Target="../tags/tag28.xml"/><Relationship Id="rId28" Type="http://schemas.openxmlformats.org/officeDocument/2006/relationships/tags" Target="../tags/tag33.xml"/><Relationship Id="rId36" Type="http://schemas.openxmlformats.org/officeDocument/2006/relationships/tags" Target="../tags/tag41.xml"/><Relationship Id="rId49" Type="http://schemas.openxmlformats.org/officeDocument/2006/relationships/tags" Target="../tags/tag54.xml"/><Relationship Id="rId57" Type="http://schemas.openxmlformats.org/officeDocument/2006/relationships/tags" Target="../tags/tag62.xml"/><Relationship Id="rId10" Type="http://schemas.openxmlformats.org/officeDocument/2006/relationships/tags" Target="../tags/tag15.xml"/><Relationship Id="rId31" Type="http://schemas.openxmlformats.org/officeDocument/2006/relationships/tags" Target="../tags/tag36.xml"/><Relationship Id="rId44" Type="http://schemas.openxmlformats.org/officeDocument/2006/relationships/tags" Target="../tags/tag49.xml"/><Relationship Id="rId52" Type="http://schemas.openxmlformats.org/officeDocument/2006/relationships/tags" Target="../tags/tag57.xml"/><Relationship Id="rId60" Type="http://schemas.openxmlformats.org/officeDocument/2006/relationships/tags" Target="../tags/tag65.xml"/><Relationship Id="rId65" Type="http://schemas.openxmlformats.org/officeDocument/2006/relationships/tags" Target="../tags/tag70.xml"/><Relationship Id="rId73" Type="http://schemas.openxmlformats.org/officeDocument/2006/relationships/tags" Target="../tags/tag78.xml"/><Relationship Id="rId78" Type="http://schemas.openxmlformats.org/officeDocument/2006/relationships/tags" Target="../tags/tag83.xml"/><Relationship Id="rId81" Type="http://schemas.openxmlformats.org/officeDocument/2006/relationships/tags" Target="../tags/tag86.xml"/><Relationship Id="rId86" Type="http://schemas.openxmlformats.org/officeDocument/2006/relationships/tags" Target="../tags/tag91.xml"/><Relationship Id="rId94" Type="http://schemas.openxmlformats.org/officeDocument/2006/relationships/tags" Target="../tags/tag99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3" Type="http://schemas.openxmlformats.org/officeDocument/2006/relationships/tags" Target="../tags/tag18.xml"/><Relationship Id="rId18" Type="http://schemas.openxmlformats.org/officeDocument/2006/relationships/tags" Target="../tags/tag23.xml"/><Relationship Id="rId39" Type="http://schemas.openxmlformats.org/officeDocument/2006/relationships/tags" Target="../tags/tag44.xml"/><Relationship Id="rId34" Type="http://schemas.openxmlformats.org/officeDocument/2006/relationships/tags" Target="../tags/tag39.xml"/><Relationship Id="rId50" Type="http://schemas.openxmlformats.org/officeDocument/2006/relationships/tags" Target="../tags/tag55.xml"/><Relationship Id="rId55" Type="http://schemas.openxmlformats.org/officeDocument/2006/relationships/tags" Target="../tags/tag60.xml"/><Relationship Id="rId76" Type="http://schemas.openxmlformats.org/officeDocument/2006/relationships/tags" Target="../tags/tag81.xml"/><Relationship Id="rId97" Type="http://schemas.openxmlformats.org/officeDocument/2006/relationships/oleObject" Target="../embeddings/oleObject5.bin"/><Relationship Id="rId7" Type="http://schemas.openxmlformats.org/officeDocument/2006/relationships/tags" Target="../tags/tag12.xml"/><Relationship Id="rId71" Type="http://schemas.openxmlformats.org/officeDocument/2006/relationships/tags" Target="../tags/tag76.xml"/><Relationship Id="rId92" Type="http://schemas.openxmlformats.org/officeDocument/2006/relationships/tags" Target="../tags/tag97.xml"/><Relationship Id="rId2" Type="http://schemas.openxmlformats.org/officeDocument/2006/relationships/tags" Target="../tags/tag7.xml"/><Relationship Id="rId29" Type="http://schemas.openxmlformats.org/officeDocument/2006/relationships/tags" Target="../tags/tag34.xml"/><Relationship Id="rId24" Type="http://schemas.openxmlformats.org/officeDocument/2006/relationships/tags" Target="../tags/tag29.xml"/><Relationship Id="rId40" Type="http://schemas.openxmlformats.org/officeDocument/2006/relationships/tags" Target="../tags/tag45.xml"/><Relationship Id="rId45" Type="http://schemas.openxmlformats.org/officeDocument/2006/relationships/tags" Target="../tags/tag50.xml"/><Relationship Id="rId66" Type="http://schemas.openxmlformats.org/officeDocument/2006/relationships/tags" Target="../tags/tag71.xml"/><Relationship Id="rId87" Type="http://schemas.openxmlformats.org/officeDocument/2006/relationships/tags" Target="../tags/tag92.xml"/><Relationship Id="rId61" Type="http://schemas.openxmlformats.org/officeDocument/2006/relationships/tags" Target="../tags/tag66.xml"/><Relationship Id="rId82" Type="http://schemas.openxmlformats.org/officeDocument/2006/relationships/tags" Target="../tags/tag87.xml"/><Relationship Id="rId19" Type="http://schemas.openxmlformats.org/officeDocument/2006/relationships/tags" Target="../tags/tag24.xml"/><Relationship Id="rId14" Type="http://schemas.openxmlformats.org/officeDocument/2006/relationships/tags" Target="../tags/tag19.xml"/><Relationship Id="rId30" Type="http://schemas.openxmlformats.org/officeDocument/2006/relationships/tags" Target="../tags/tag35.xml"/><Relationship Id="rId35" Type="http://schemas.openxmlformats.org/officeDocument/2006/relationships/tags" Target="../tags/tag40.xml"/><Relationship Id="rId56" Type="http://schemas.openxmlformats.org/officeDocument/2006/relationships/tags" Target="../tags/tag61.xml"/><Relationship Id="rId77" Type="http://schemas.openxmlformats.org/officeDocument/2006/relationships/tags" Target="../tags/tag82.xml"/><Relationship Id="rId8" Type="http://schemas.openxmlformats.org/officeDocument/2006/relationships/tags" Target="../tags/tag13.xml"/><Relationship Id="rId51" Type="http://schemas.openxmlformats.org/officeDocument/2006/relationships/tags" Target="../tags/tag56.xml"/><Relationship Id="rId72" Type="http://schemas.openxmlformats.org/officeDocument/2006/relationships/tags" Target="../tags/tag77.xml"/><Relationship Id="rId93" Type="http://schemas.openxmlformats.org/officeDocument/2006/relationships/tags" Target="../tags/tag98.xml"/><Relationship Id="rId98" Type="http://schemas.openxmlformats.org/officeDocument/2006/relationships/image" Target="../media/image5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1080000" y="1800001"/>
            <a:ext cx="7736694" cy="1993284"/>
          </a:xfrm>
        </p:spPr>
        <p:txBody>
          <a:bodyPr anchor="b">
            <a:noAutofit/>
          </a:bodyPr>
          <a:lstStyle/>
          <a:p>
            <a:r>
              <a:rPr lang="en-US" sz="4400" dirty="0" smtClean="0"/>
              <a:t>Project </a:t>
            </a:r>
            <a:r>
              <a:rPr lang="cs-CZ" sz="4400" dirty="0" err="1" smtClean="0"/>
              <a:t>Staffr</a:t>
            </a:r>
            <a:r>
              <a:rPr lang="en-US" sz="4400" dirty="0" smtClean="0"/>
              <a:t>:</a:t>
            </a:r>
            <a:br>
              <a:rPr lang="en-US" sz="4400" dirty="0" smtClean="0"/>
            </a:br>
            <a:r>
              <a:rPr lang="cs-CZ" sz="4400" dirty="0" smtClean="0"/>
              <a:t>Status report v1</a:t>
            </a:r>
            <a:endParaRPr lang="cs-CZ" sz="4400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>
            <a:noAutofit/>
          </a:bodyPr>
          <a:lstStyle/>
          <a:p>
            <a:endParaRPr lang="cs-CZ" dirty="0" smtClean="0"/>
          </a:p>
          <a:p>
            <a:endParaRPr lang="cs-CZ" dirty="0"/>
          </a:p>
          <a:p>
            <a:r>
              <a:rPr lang="cs-CZ" dirty="0" err="1" smtClean="0"/>
              <a:t>October</a:t>
            </a:r>
            <a:r>
              <a:rPr lang="cs-CZ" dirty="0" smtClean="0"/>
              <a:t> 5, 2017</a:t>
            </a:r>
            <a:endParaRPr lang="en-US" dirty="0" smtClean="0"/>
          </a:p>
          <a:p>
            <a:endParaRPr lang="en-US" dirty="0" smtClean="0"/>
          </a:p>
          <a:p>
            <a:endParaRPr lang="en-US" sz="1200" dirty="0" smtClean="0"/>
          </a:p>
          <a:p>
            <a:endParaRPr lang="cs-CZ" sz="1200" dirty="0" smtClean="0"/>
          </a:p>
          <a:p>
            <a:endParaRPr lang="cs-CZ" sz="1200" dirty="0"/>
          </a:p>
          <a:p>
            <a:endParaRPr lang="en-US" sz="1200" dirty="0"/>
          </a:p>
          <a:p>
            <a:r>
              <a:rPr lang="cs-CZ" sz="1100" b="0" dirty="0" smtClean="0"/>
              <a:t>Kryštof Sýkora, Marek Szeles</a:t>
            </a:r>
          </a:p>
        </p:txBody>
      </p:sp>
    </p:spTree>
    <p:extLst>
      <p:ext uri="{BB962C8B-B14F-4D97-AF65-F5344CB8AC3E}">
        <p14:creationId xmlns:p14="http://schemas.microsoft.com/office/powerpoint/2010/main" val="184452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113670" y="315756"/>
            <a:ext cx="7794000" cy="1087934"/>
          </a:xfrm>
        </p:spPr>
        <p:txBody>
          <a:bodyPr/>
          <a:lstStyle/>
          <a:p>
            <a:r>
              <a:rPr lang="cs-CZ" dirty="0" err="1" smtClean="0"/>
              <a:t>What</a:t>
            </a:r>
            <a:r>
              <a:rPr lang="cs-CZ" dirty="0" smtClean="0"/>
              <a:t> </a:t>
            </a:r>
            <a:r>
              <a:rPr lang="cs-CZ" dirty="0" err="1" smtClean="0"/>
              <a:t>is</a:t>
            </a:r>
            <a:r>
              <a:rPr lang="cs-CZ" dirty="0" smtClean="0"/>
              <a:t> </a:t>
            </a:r>
            <a:r>
              <a:rPr lang="cs-CZ" dirty="0" err="1" smtClean="0"/>
              <a:t>Staffr</a:t>
            </a:r>
            <a:r>
              <a:rPr lang="cs-CZ" dirty="0" smtClean="0"/>
              <a:t>?</a:t>
            </a:r>
            <a:endParaRPr lang="cs-CZ" dirty="0"/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874040" y="4623030"/>
            <a:ext cx="8269960" cy="697683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04000" tIns="91440" rIns="180000" bIns="91440" anchor="ctr"/>
          <a:lstStyle/>
          <a:p>
            <a:r>
              <a:rPr lang="cs-CZ" sz="2000" b="1" dirty="0" err="1" smtClean="0"/>
              <a:t>Helps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search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for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relevant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employees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for</a:t>
            </a:r>
            <a:r>
              <a:rPr lang="cs-CZ" sz="2000" b="1" dirty="0" smtClean="0"/>
              <a:t> a </a:t>
            </a:r>
            <a:r>
              <a:rPr lang="cs-CZ" sz="2000" b="1" dirty="0" err="1" smtClean="0"/>
              <a:t>project</a:t>
            </a:r>
            <a:endParaRPr lang="en-US" sz="2000" b="1" dirty="0"/>
          </a:p>
        </p:txBody>
      </p:sp>
      <p:sp>
        <p:nvSpPr>
          <p:cNvPr id="7" name="AutoShape 5"/>
          <p:cNvSpPr>
            <a:spLocks noChangeArrowheads="1"/>
          </p:cNvSpPr>
          <p:nvPr/>
        </p:nvSpPr>
        <p:spPr bwMode="auto">
          <a:xfrm>
            <a:off x="874988" y="4623030"/>
            <a:ext cx="342236" cy="445086"/>
          </a:xfrm>
          <a:prstGeom prst="rtTriangl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8" name="Freeform 7"/>
          <p:cNvSpPr>
            <a:spLocks/>
          </p:cNvSpPr>
          <p:nvPr/>
        </p:nvSpPr>
        <p:spPr bwMode="auto">
          <a:xfrm>
            <a:off x="750825" y="5068116"/>
            <a:ext cx="466399" cy="697684"/>
          </a:xfrm>
          <a:custGeom>
            <a:avLst/>
            <a:gdLst/>
            <a:ahLst/>
            <a:cxnLst>
              <a:cxn ang="0">
                <a:pos x="1310" y="0"/>
              </a:cxn>
              <a:cxn ang="0">
                <a:pos x="1310" y="459"/>
              </a:cxn>
              <a:cxn ang="0">
                <a:pos x="0" y="460"/>
              </a:cxn>
              <a:cxn ang="0">
                <a:pos x="1" y="0"/>
              </a:cxn>
              <a:cxn ang="0">
                <a:pos x="1310" y="0"/>
              </a:cxn>
            </a:cxnLst>
            <a:rect l="0" t="0" r="r" b="b"/>
            <a:pathLst>
              <a:path w="1310" h="460">
                <a:moveTo>
                  <a:pt x="1310" y="0"/>
                </a:moveTo>
                <a:lnTo>
                  <a:pt x="1310" y="459"/>
                </a:lnTo>
                <a:lnTo>
                  <a:pt x="0" y="460"/>
                </a:lnTo>
                <a:lnTo>
                  <a:pt x="1" y="0"/>
                </a:lnTo>
                <a:lnTo>
                  <a:pt x="1310" y="0"/>
                </a:lnTo>
                <a:close/>
              </a:path>
            </a:pathLst>
          </a:custGeom>
          <a:solidFill>
            <a:srgbClr val="4472C4"/>
          </a:solidFill>
          <a:ln w="127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9" name="Right Arrow 8"/>
          <p:cNvSpPr/>
          <p:nvPr/>
        </p:nvSpPr>
        <p:spPr>
          <a:xfrm>
            <a:off x="728619" y="5184219"/>
            <a:ext cx="309620" cy="465477"/>
          </a:xfrm>
          <a:prstGeom prst="rightArrow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3"/>
          <p:cNvSpPr>
            <a:spLocks noChangeArrowheads="1"/>
          </p:cNvSpPr>
          <p:nvPr/>
        </p:nvSpPr>
        <p:spPr bwMode="auto">
          <a:xfrm>
            <a:off x="874040" y="1944099"/>
            <a:ext cx="8269960" cy="697683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04000" tIns="91440" rIns="180000" bIns="91440" anchor="ctr"/>
          <a:lstStyle/>
          <a:p>
            <a:r>
              <a:rPr lang="cs-CZ" sz="2000" b="1" dirty="0" err="1" smtClean="0"/>
              <a:t>Staff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managemenet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system</a:t>
            </a:r>
            <a:endParaRPr lang="en-US" sz="2000" b="1" dirty="0"/>
          </a:p>
        </p:txBody>
      </p:sp>
      <p:sp>
        <p:nvSpPr>
          <p:cNvPr id="18" name="AutoShape 5"/>
          <p:cNvSpPr>
            <a:spLocks noChangeArrowheads="1"/>
          </p:cNvSpPr>
          <p:nvPr/>
        </p:nvSpPr>
        <p:spPr bwMode="auto">
          <a:xfrm>
            <a:off x="874988" y="1944099"/>
            <a:ext cx="342236" cy="445086"/>
          </a:xfrm>
          <a:prstGeom prst="rtTriangl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19" name="Freeform 18"/>
          <p:cNvSpPr>
            <a:spLocks/>
          </p:cNvSpPr>
          <p:nvPr/>
        </p:nvSpPr>
        <p:spPr bwMode="auto">
          <a:xfrm>
            <a:off x="750825" y="2389185"/>
            <a:ext cx="466399" cy="697684"/>
          </a:xfrm>
          <a:custGeom>
            <a:avLst/>
            <a:gdLst/>
            <a:ahLst/>
            <a:cxnLst>
              <a:cxn ang="0">
                <a:pos x="1310" y="0"/>
              </a:cxn>
              <a:cxn ang="0">
                <a:pos x="1310" y="459"/>
              </a:cxn>
              <a:cxn ang="0">
                <a:pos x="0" y="460"/>
              </a:cxn>
              <a:cxn ang="0">
                <a:pos x="1" y="0"/>
              </a:cxn>
              <a:cxn ang="0">
                <a:pos x="1310" y="0"/>
              </a:cxn>
            </a:cxnLst>
            <a:rect l="0" t="0" r="r" b="b"/>
            <a:pathLst>
              <a:path w="1310" h="460">
                <a:moveTo>
                  <a:pt x="1310" y="0"/>
                </a:moveTo>
                <a:lnTo>
                  <a:pt x="1310" y="459"/>
                </a:lnTo>
                <a:lnTo>
                  <a:pt x="0" y="460"/>
                </a:lnTo>
                <a:lnTo>
                  <a:pt x="1" y="0"/>
                </a:lnTo>
                <a:lnTo>
                  <a:pt x="1310" y="0"/>
                </a:lnTo>
                <a:close/>
              </a:path>
            </a:pathLst>
          </a:custGeom>
          <a:solidFill>
            <a:srgbClr val="4472C4"/>
          </a:solidFill>
          <a:ln w="127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20" name="Right Arrow 19"/>
          <p:cNvSpPr/>
          <p:nvPr/>
        </p:nvSpPr>
        <p:spPr>
          <a:xfrm>
            <a:off x="728619" y="2505288"/>
            <a:ext cx="309620" cy="465477"/>
          </a:xfrm>
          <a:prstGeom prst="rightArrow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Rectangle 3"/>
          <p:cNvSpPr>
            <a:spLocks noChangeArrowheads="1"/>
          </p:cNvSpPr>
          <p:nvPr/>
        </p:nvSpPr>
        <p:spPr bwMode="auto">
          <a:xfrm>
            <a:off x="874040" y="3295454"/>
            <a:ext cx="8269960" cy="697683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04000" tIns="91440" rIns="180000" bIns="91440" anchor="ctr"/>
          <a:lstStyle/>
          <a:p>
            <a:r>
              <a:rPr lang="cs-CZ" sz="2000" b="1" dirty="0" err="1" smtClean="0"/>
              <a:t>Allows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for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administration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of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staff</a:t>
            </a:r>
            <a:r>
              <a:rPr lang="cs-CZ" sz="2000" b="1" dirty="0" smtClean="0"/>
              <a:t>, </a:t>
            </a:r>
            <a:r>
              <a:rPr lang="cs-CZ" sz="2000" b="1" dirty="0" err="1" smtClean="0"/>
              <a:t>projects</a:t>
            </a:r>
            <a:r>
              <a:rPr lang="cs-CZ" sz="2000" b="1" dirty="0" smtClean="0"/>
              <a:t>, </a:t>
            </a:r>
            <a:r>
              <a:rPr lang="cs-CZ" sz="2000" b="1" dirty="0" err="1" smtClean="0"/>
              <a:t>offices</a:t>
            </a:r>
            <a:r>
              <a:rPr lang="cs-CZ" sz="2000" b="1" dirty="0" smtClean="0"/>
              <a:t>, </a:t>
            </a:r>
            <a:r>
              <a:rPr lang="cs-CZ" sz="2000" b="1" dirty="0" err="1" smtClean="0"/>
              <a:t>etc</a:t>
            </a:r>
            <a:r>
              <a:rPr lang="cs-CZ" sz="2000" b="1" dirty="0" smtClean="0"/>
              <a:t>.</a:t>
            </a:r>
            <a:endParaRPr lang="en-US" sz="2000" b="1" dirty="0"/>
          </a:p>
        </p:txBody>
      </p:sp>
      <p:sp>
        <p:nvSpPr>
          <p:cNvPr id="23" name="AutoShape 5"/>
          <p:cNvSpPr>
            <a:spLocks noChangeArrowheads="1"/>
          </p:cNvSpPr>
          <p:nvPr/>
        </p:nvSpPr>
        <p:spPr bwMode="auto">
          <a:xfrm>
            <a:off x="874988" y="3295454"/>
            <a:ext cx="342236" cy="445086"/>
          </a:xfrm>
          <a:prstGeom prst="rtTriangl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24" name="Freeform 23"/>
          <p:cNvSpPr>
            <a:spLocks/>
          </p:cNvSpPr>
          <p:nvPr/>
        </p:nvSpPr>
        <p:spPr bwMode="auto">
          <a:xfrm>
            <a:off x="750825" y="3740540"/>
            <a:ext cx="466399" cy="697684"/>
          </a:xfrm>
          <a:custGeom>
            <a:avLst/>
            <a:gdLst/>
            <a:ahLst/>
            <a:cxnLst>
              <a:cxn ang="0">
                <a:pos x="1310" y="0"/>
              </a:cxn>
              <a:cxn ang="0">
                <a:pos x="1310" y="459"/>
              </a:cxn>
              <a:cxn ang="0">
                <a:pos x="0" y="460"/>
              </a:cxn>
              <a:cxn ang="0">
                <a:pos x="1" y="0"/>
              </a:cxn>
              <a:cxn ang="0">
                <a:pos x="1310" y="0"/>
              </a:cxn>
            </a:cxnLst>
            <a:rect l="0" t="0" r="r" b="b"/>
            <a:pathLst>
              <a:path w="1310" h="460">
                <a:moveTo>
                  <a:pt x="1310" y="0"/>
                </a:moveTo>
                <a:lnTo>
                  <a:pt x="1310" y="459"/>
                </a:lnTo>
                <a:lnTo>
                  <a:pt x="0" y="460"/>
                </a:lnTo>
                <a:lnTo>
                  <a:pt x="1" y="0"/>
                </a:lnTo>
                <a:lnTo>
                  <a:pt x="1310" y="0"/>
                </a:lnTo>
                <a:close/>
              </a:path>
            </a:pathLst>
          </a:custGeom>
          <a:solidFill>
            <a:srgbClr val="4472C4"/>
          </a:solidFill>
          <a:ln w="127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25" name="Right Arrow 24"/>
          <p:cNvSpPr/>
          <p:nvPr/>
        </p:nvSpPr>
        <p:spPr>
          <a:xfrm>
            <a:off x="728619" y="3856644"/>
            <a:ext cx="309620" cy="465477"/>
          </a:xfrm>
          <a:prstGeom prst="rightArrow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4255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0" name="Object 6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66" y="265236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88" name="think-cell Slide" r:id="rId97" imgW="270" imgH="270" progId="TCLayout.ActiveDocument.1">
                  <p:embed/>
                </p:oleObj>
              </mc:Choice>
              <mc:Fallback>
                <p:oleObj name="think-cell Slide" r:id="rId9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8"/>
                      <a:stretch>
                        <a:fillRect/>
                      </a:stretch>
                    </p:blipFill>
                    <p:spPr>
                      <a:xfrm>
                        <a:off x="1466" y="265236"/>
                        <a:ext cx="1465" cy="14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gray">
          <a:xfrm>
            <a:off x="0" y="263769"/>
            <a:ext cx="146538" cy="14653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923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094400" y="427981"/>
            <a:ext cx="6705823" cy="863485"/>
          </a:xfrm>
        </p:spPr>
        <p:txBody>
          <a:bodyPr/>
          <a:lstStyle/>
          <a:p>
            <a:r>
              <a:rPr lang="cs-CZ" dirty="0" err="1" smtClean="0"/>
              <a:t>Original</a:t>
            </a:r>
            <a:r>
              <a:rPr lang="cs-CZ" dirty="0" smtClean="0"/>
              <a:t> </a:t>
            </a:r>
            <a:r>
              <a:rPr lang="en-US" dirty="0" smtClean="0"/>
              <a:t>Schedule</a:t>
            </a:r>
            <a:endParaRPr lang="cs-CZ" dirty="0"/>
          </a:p>
        </p:txBody>
      </p:sp>
      <p:sp>
        <p:nvSpPr>
          <p:cNvPr id="49" name="Rectangle 48"/>
          <p:cNvSpPr/>
          <p:nvPr>
            <p:custDataLst>
              <p:tags r:id="rId4"/>
            </p:custDataLst>
          </p:nvPr>
        </p:nvSpPr>
        <p:spPr bwMode="gray">
          <a:xfrm>
            <a:off x="423497" y="3855428"/>
            <a:ext cx="1235320" cy="58029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3" name="Rectangle 42"/>
          <p:cNvSpPr/>
          <p:nvPr>
            <p:custDataLst>
              <p:tags r:id="rId5"/>
            </p:custDataLst>
          </p:nvPr>
        </p:nvSpPr>
        <p:spPr bwMode="gray">
          <a:xfrm>
            <a:off x="423497" y="2782766"/>
            <a:ext cx="1235320" cy="492369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4" name="Rectangle 43"/>
          <p:cNvSpPr/>
          <p:nvPr>
            <p:custDataLst>
              <p:tags r:id="rId6"/>
            </p:custDataLst>
          </p:nvPr>
        </p:nvSpPr>
        <p:spPr bwMode="gray">
          <a:xfrm>
            <a:off x="423497" y="3275135"/>
            <a:ext cx="1235320" cy="58029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0" name="Rectangle 79"/>
          <p:cNvSpPr/>
          <p:nvPr>
            <p:custDataLst>
              <p:tags r:id="rId7"/>
            </p:custDataLst>
          </p:nvPr>
        </p:nvSpPr>
        <p:spPr bwMode="gray">
          <a:xfrm>
            <a:off x="423497" y="4435720"/>
            <a:ext cx="1235320" cy="750277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2" name="Rectangle 41"/>
          <p:cNvSpPr/>
          <p:nvPr>
            <p:custDataLst>
              <p:tags r:id="rId8"/>
            </p:custDataLst>
          </p:nvPr>
        </p:nvSpPr>
        <p:spPr bwMode="gray">
          <a:xfrm>
            <a:off x="423497" y="2202475"/>
            <a:ext cx="1235320" cy="58029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7" name="Rectangle 106"/>
          <p:cNvSpPr/>
          <p:nvPr>
            <p:custDataLst>
              <p:tags r:id="rId9"/>
            </p:custDataLst>
          </p:nvPr>
        </p:nvSpPr>
        <p:spPr bwMode="gray">
          <a:xfrm>
            <a:off x="3282461" y="2202473"/>
            <a:ext cx="282820" cy="2983523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8" name="Rectangle 87"/>
          <p:cNvSpPr/>
          <p:nvPr>
            <p:custDataLst>
              <p:tags r:id="rId10"/>
            </p:custDataLst>
          </p:nvPr>
        </p:nvSpPr>
        <p:spPr bwMode="gray">
          <a:xfrm>
            <a:off x="2929304" y="2202474"/>
            <a:ext cx="353158" cy="2983523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2" name="Rectangle 91"/>
          <p:cNvSpPr/>
          <p:nvPr>
            <p:custDataLst>
              <p:tags r:id="rId11"/>
            </p:custDataLst>
          </p:nvPr>
        </p:nvSpPr>
        <p:spPr bwMode="gray">
          <a:xfrm>
            <a:off x="3918439" y="2202474"/>
            <a:ext cx="1342292" cy="2983523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4" name="Rectangle 93"/>
          <p:cNvSpPr/>
          <p:nvPr>
            <p:custDataLst>
              <p:tags r:id="rId12"/>
            </p:custDataLst>
          </p:nvPr>
        </p:nvSpPr>
        <p:spPr bwMode="gray">
          <a:xfrm>
            <a:off x="6671897" y="2202473"/>
            <a:ext cx="424962" cy="2983523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Text Placeholder 1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658816" y="1740877"/>
            <a:ext cx="2189285" cy="2447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8100" rIns="0" bIns="381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808E329-06FC-4945-AD31-96181F435080}" type="datetime'''''''''''''''''''''''''J''''''''''u''''''''l'''''''''''''''''">
              <a:rPr lang="en-US" altLang="en-US" sz="1108" b="0">
                <a:sym typeface="+mn-lt"/>
              </a:rPr>
              <a:pPr/>
              <a:t>Jul</a:t>
            </a:fld>
            <a:endParaRPr lang="en-US" sz="1108" b="0" dirty="0">
              <a:sym typeface="+mn-lt"/>
            </a:endParaRPr>
          </a:p>
        </p:txBody>
      </p:sp>
      <p:sp>
        <p:nvSpPr>
          <p:cNvPr id="39" name="Text Placeholder 1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3848100" y="1740877"/>
            <a:ext cx="2189285" cy="2447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8100" rIns="0" bIns="381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82E8922-A60B-4FEC-AEB2-34BF5E5C5E48}" type="datetime'A''''''''ug'''''''''''''''''''''''">
              <a:rPr lang="en-US" altLang="en-US" sz="1108" b="0">
                <a:sym typeface="+mn-lt"/>
              </a:rPr>
              <a:pPr/>
              <a:t>Aug</a:t>
            </a:fld>
            <a:endParaRPr lang="en-US" sz="1108" b="0" dirty="0">
              <a:sym typeface="+mn-lt"/>
            </a:endParaRPr>
          </a:p>
        </p:txBody>
      </p:sp>
      <p:sp>
        <p:nvSpPr>
          <p:cNvPr id="40" name="Text Placeholder 1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037385" y="1740877"/>
            <a:ext cx="2117481" cy="2447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8100" rIns="0" bIns="381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E122A77-F326-4F57-BE16-8A82881A6CFB}" type="datetime'''''S''''''''''e''''''''p'''''''''''''''''''''''''''''''">
              <a:rPr lang="en-US" altLang="en-US" sz="1108" b="0">
                <a:sym typeface="+mn-lt"/>
              </a:rPr>
              <a:pPr/>
              <a:t>Sep</a:t>
            </a:fld>
            <a:endParaRPr lang="en-US" sz="1108" b="0" dirty="0">
              <a:sym typeface="+mn-lt"/>
            </a:endParaRPr>
          </a:p>
        </p:txBody>
      </p:sp>
      <p:sp>
        <p:nvSpPr>
          <p:cNvPr id="72" name="Text Placeholder 1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8154867" y="1740877"/>
            <a:ext cx="565638" cy="2447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8100" rIns="0" bIns="381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C1945BD-E964-4976-A50B-AFA44B4E2A37}" type="datetime'''''O''''''''c''''''''''''''''''''''''''''''''''''t'''''">
              <a:rPr lang="en-US" altLang="en-US" sz="1108" b="0">
                <a:sym typeface="+mn-lt"/>
              </a:rPr>
              <a:pPr/>
              <a:t>Oct</a:t>
            </a:fld>
            <a:endParaRPr lang="en-US" sz="1108" b="0" dirty="0">
              <a:sym typeface="+mn-lt"/>
            </a:endParaRPr>
          </a:p>
        </p:txBody>
      </p:sp>
      <p:sp>
        <p:nvSpPr>
          <p:cNvPr id="24" name="Text Placeholder 1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1658815" y="1985597"/>
            <a:ext cx="140677" cy="216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8100" rIns="0" bIns="381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C7D13DB-C447-4C0C-B149-846E2A59A3CB}" type="datetime'''''''''''''2''''''6'''''''">
              <a:rPr lang="en-US" altLang="en-US" sz="923" b="0">
                <a:sym typeface="+mn-lt"/>
              </a:rPr>
              <a:pPr/>
              <a:t>26</a:t>
            </a:fld>
            <a:endParaRPr lang="en-US" sz="923" b="0" dirty="0">
              <a:sym typeface="+mn-lt"/>
            </a:endParaRPr>
          </a:p>
        </p:txBody>
      </p:sp>
      <p:sp>
        <p:nvSpPr>
          <p:cNvPr id="25" name="Text Placeholder 1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1799493" y="1985597"/>
            <a:ext cx="495300" cy="216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8100" rIns="0" bIns="381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7645CA2-0F2E-4957-AC97-7404CD546981}" type="datetime'''''''''''''''''''''''2''''''''''''''''''''''''''7'''''''">
              <a:rPr lang="en-US" altLang="en-US" sz="923" b="0">
                <a:sym typeface="+mn-lt"/>
              </a:rPr>
              <a:pPr/>
              <a:t>27</a:t>
            </a:fld>
            <a:endParaRPr lang="en-US" sz="923" b="0" dirty="0">
              <a:sym typeface="+mn-lt"/>
            </a:endParaRPr>
          </a:p>
        </p:txBody>
      </p:sp>
      <p:sp>
        <p:nvSpPr>
          <p:cNvPr id="26" name="Text Placeholder 1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2294792" y="1985597"/>
            <a:ext cx="493835" cy="216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8100" rIns="0" bIns="381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9B61448-846F-4F85-80CF-A9713579D896}" type="datetime'''''''''28'''''''''''''''''''''">
              <a:rPr lang="en-US" altLang="en-US" sz="923" b="0">
                <a:sym typeface="+mn-lt"/>
              </a:rPr>
              <a:pPr/>
              <a:t>28</a:t>
            </a:fld>
            <a:endParaRPr lang="en-US" sz="923" b="0" dirty="0">
              <a:sym typeface="+mn-lt"/>
            </a:endParaRPr>
          </a:p>
        </p:txBody>
      </p:sp>
      <p:sp>
        <p:nvSpPr>
          <p:cNvPr id="27" name="Text Placeholder 1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2788627" y="1985597"/>
            <a:ext cx="493835" cy="216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8100" rIns="0" bIns="381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1AF4F8D-241A-463C-9E80-738E3F493FD4}" type="datetime'''''''''''''''''''''''''''''''''2''''''''''''9'''''''''''''''">
              <a:rPr lang="en-US" altLang="en-US" sz="923" b="0">
                <a:sym typeface="+mn-lt"/>
              </a:rPr>
              <a:pPr/>
              <a:t>29</a:t>
            </a:fld>
            <a:endParaRPr lang="en-US" sz="923" b="0" dirty="0">
              <a:sym typeface="+mn-lt"/>
            </a:endParaRPr>
          </a:p>
        </p:txBody>
      </p:sp>
      <p:sp>
        <p:nvSpPr>
          <p:cNvPr id="28" name="Text Placeholder 1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3282462" y="1985597"/>
            <a:ext cx="495300" cy="216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8100" rIns="0" bIns="381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7E0421F-13A2-4C3C-A7E6-AA0D34BB24E2}" type="datetime'''''''''''''''''''''''''''''''''''''''''''30'''''''''''''''">
              <a:rPr lang="en-US" altLang="en-US" sz="923" b="0">
                <a:sym typeface="+mn-lt"/>
              </a:rPr>
              <a:pPr/>
              <a:t>30</a:t>
            </a:fld>
            <a:endParaRPr lang="en-US" sz="923" b="0" dirty="0">
              <a:sym typeface="+mn-lt"/>
            </a:endParaRPr>
          </a:p>
        </p:txBody>
      </p:sp>
      <p:sp>
        <p:nvSpPr>
          <p:cNvPr id="29" name="Text Placeholder 1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3777762" y="1985597"/>
            <a:ext cx="493835" cy="216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8100" rIns="0" bIns="381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605AF4C-8C41-465F-92F0-66A9ECD7B6F3}" type="datetime'''''''''''''''''''3''''''''''''''''''''''''1'''''''''">
              <a:rPr lang="en-US" altLang="en-US" sz="923" b="0">
                <a:sym typeface="+mn-lt"/>
              </a:rPr>
              <a:pPr/>
              <a:t>31</a:t>
            </a:fld>
            <a:endParaRPr lang="en-US" sz="923" b="0" dirty="0">
              <a:sym typeface="+mn-lt"/>
            </a:endParaRPr>
          </a:p>
        </p:txBody>
      </p:sp>
      <p:sp>
        <p:nvSpPr>
          <p:cNvPr id="30" name="Text Placeholder 1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4271597" y="1985597"/>
            <a:ext cx="493835" cy="216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8100" rIns="0" bIns="381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C334414-B1B5-4A88-A30F-5AAA2EB46199}" type="datetime'''''''''''''3''''''''''''2'">
              <a:rPr lang="en-US" altLang="en-US" sz="923" b="0">
                <a:sym typeface="+mn-lt"/>
              </a:rPr>
              <a:pPr/>
              <a:t>32</a:t>
            </a:fld>
            <a:endParaRPr lang="en-US" sz="923" b="0" dirty="0">
              <a:sym typeface="+mn-lt"/>
            </a:endParaRPr>
          </a:p>
        </p:txBody>
      </p:sp>
      <p:sp>
        <p:nvSpPr>
          <p:cNvPr id="31" name="Text Placeholder 1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4765431" y="1985597"/>
            <a:ext cx="495300" cy="216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8100" rIns="0" bIns="381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6C381B8-7546-49C4-A701-37A8D00A8763}" type="datetime'''''3''''''''''''''''''''3'''''''''''''''''''''''''''''">
              <a:rPr lang="en-US" altLang="en-US" sz="923" b="0">
                <a:sym typeface="+mn-lt"/>
              </a:rPr>
              <a:pPr/>
              <a:t>33</a:t>
            </a:fld>
            <a:endParaRPr lang="en-US" sz="923" b="0" dirty="0">
              <a:sym typeface="+mn-lt"/>
            </a:endParaRPr>
          </a:p>
        </p:txBody>
      </p:sp>
      <p:sp>
        <p:nvSpPr>
          <p:cNvPr id="32" name="Text Placeholder 1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5260731" y="1985597"/>
            <a:ext cx="493835" cy="216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8100" rIns="0" bIns="381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11F97E8-8C31-4F72-B51F-19FD56907D8F}" type="datetime'''''''3''''''''''''''''''''''''4'''''''''">
              <a:rPr lang="en-US" altLang="en-US" sz="923" b="0">
                <a:sym typeface="+mn-lt"/>
              </a:rPr>
              <a:pPr/>
              <a:t>34</a:t>
            </a:fld>
            <a:endParaRPr lang="en-US" sz="923" b="0" dirty="0">
              <a:sym typeface="+mn-lt"/>
            </a:endParaRPr>
          </a:p>
        </p:txBody>
      </p:sp>
      <p:sp>
        <p:nvSpPr>
          <p:cNvPr id="33" name="Text Placeholder 1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5754566" y="1985597"/>
            <a:ext cx="493835" cy="216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8100" rIns="0" bIns="381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DBB985A-B5DE-4BB0-9D71-B226D6831C15}" type="datetime'''''3''''''''''''''''''''''''''''''''''''''5'''''">
              <a:rPr lang="en-US" altLang="en-US" sz="923" b="0">
                <a:sym typeface="+mn-lt"/>
              </a:rPr>
              <a:pPr/>
              <a:t>35</a:t>
            </a:fld>
            <a:endParaRPr lang="en-US" sz="923" b="0" dirty="0">
              <a:sym typeface="+mn-lt"/>
            </a:endParaRPr>
          </a:p>
        </p:txBody>
      </p:sp>
      <p:sp>
        <p:nvSpPr>
          <p:cNvPr id="34" name="Text Placeholder 1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6248400" y="1985597"/>
            <a:ext cx="495300" cy="216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8100" rIns="0" bIns="381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5729FA8-DE1B-4E00-B36B-57A8F97EE9C8}" type="datetime'''''''''''''''''''''''36'''''''''''''''''''''''''''''''">
              <a:rPr lang="en-US" altLang="en-US" sz="923" b="0">
                <a:sym typeface="+mn-lt"/>
              </a:rPr>
              <a:pPr/>
              <a:t>36</a:t>
            </a:fld>
            <a:endParaRPr lang="en-US" sz="923" b="0" dirty="0">
              <a:sym typeface="+mn-lt"/>
            </a:endParaRPr>
          </a:p>
        </p:txBody>
      </p:sp>
      <p:sp>
        <p:nvSpPr>
          <p:cNvPr id="35" name="Text Placeholder 1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6743700" y="1985597"/>
            <a:ext cx="493835" cy="216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8100" rIns="0" bIns="381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3AB2D0E-8EBC-4EAD-BAC7-015899A4E592}" type="datetime'''''''3''''''''''''''''''''''''''''''7'''''">
              <a:rPr lang="en-US" altLang="en-US" sz="923" b="0">
                <a:sym typeface="+mn-lt"/>
              </a:rPr>
              <a:pPr/>
              <a:t>37</a:t>
            </a:fld>
            <a:endParaRPr lang="en-US" sz="923" b="0" dirty="0">
              <a:sym typeface="+mn-lt"/>
            </a:endParaRPr>
          </a:p>
        </p:txBody>
      </p:sp>
      <p:sp>
        <p:nvSpPr>
          <p:cNvPr id="36" name="Text Placeholder 1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7237535" y="1985597"/>
            <a:ext cx="493835" cy="216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8100" rIns="0" bIns="381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9E7E285-92CA-4DBE-B93C-4EECD7D3CEA0}" type="datetime'''3''''''''''''''''''''''''''''''''''''''''''''''''''''8'">
              <a:rPr lang="en-US" altLang="en-US" sz="923" b="0">
                <a:sym typeface="+mn-lt"/>
              </a:rPr>
              <a:pPr/>
              <a:t>38</a:t>
            </a:fld>
            <a:endParaRPr lang="en-US" sz="923" b="0" dirty="0">
              <a:sym typeface="+mn-lt"/>
            </a:endParaRPr>
          </a:p>
        </p:txBody>
      </p:sp>
      <p:sp>
        <p:nvSpPr>
          <p:cNvPr id="37" name="Text Placeholder 12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7731370" y="1985597"/>
            <a:ext cx="495300" cy="216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8100" rIns="0" bIns="381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7184C83-F52C-4A81-B567-D1C251149304}" type="datetime'''''''''''''''3''''''''''''''''''''''''''''9'''">
              <a:rPr lang="en-US" altLang="en-US" sz="923" b="0">
                <a:sym typeface="+mn-lt"/>
              </a:rPr>
              <a:pPr/>
              <a:t>39</a:t>
            </a:fld>
            <a:endParaRPr lang="en-US" sz="923" b="0" dirty="0">
              <a:sym typeface="+mn-lt"/>
            </a:endParaRPr>
          </a:p>
        </p:txBody>
      </p:sp>
      <p:sp>
        <p:nvSpPr>
          <p:cNvPr id="71" name="Text Placeholder 12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8226669" y="1985597"/>
            <a:ext cx="493835" cy="216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8100" rIns="0" bIns="381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EE5471A-2DC0-4998-BEB4-78DBD94C8D15}" type="datetime'''''''''''''4''''''0'''''''''''''''''''''''''''''''''''''">
              <a:rPr lang="en-US" altLang="en-US" sz="923" b="0">
                <a:sym typeface="+mn-lt"/>
              </a:rPr>
              <a:pPr/>
              <a:t>40</a:t>
            </a:fld>
            <a:endParaRPr lang="en-US" sz="923" b="0" dirty="0">
              <a:sym typeface="+mn-lt"/>
            </a:endParaRPr>
          </a:p>
        </p:txBody>
      </p:sp>
      <p:cxnSp>
        <p:nvCxnSpPr>
          <p:cNvPr id="73" name="Straight Connector 72"/>
          <p:cNvCxnSpPr/>
          <p:nvPr>
            <p:custDataLst>
              <p:tags r:id="rId32"/>
            </p:custDataLst>
          </p:nvPr>
        </p:nvCxnSpPr>
        <p:spPr bwMode="gray">
          <a:xfrm>
            <a:off x="8154867" y="1985597"/>
            <a:ext cx="565638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>
            <p:custDataLst>
              <p:tags r:id="rId33"/>
            </p:custDataLst>
          </p:nvPr>
        </p:nvCxnSpPr>
        <p:spPr bwMode="gray">
          <a:xfrm>
            <a:off x="3848100" y="1985597"/>
            <a:ext cx="218928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>
            <p:custDataLst>
              <p:tags r:id="rId34"/>
            </p:custDataLst>
          </p:nvPr>
        </p:nvCxnSpPr>
        <p:spPr bwMode="gray">
          <a:xfrm>
            <a:off x="1658816" y="1985597"/>
            <a:ext cx="218928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>
            <p:custDataLst>
              <p:tags r:id="rId35"/>
            </p:custDataLst>
          </p:nvPr>
        </p:nvCxnSpPr>
        <p:spPr bwMode="gray">
          <a:xfrm>
            <a:off x="6037385" y="1985597"/>
            <a:ext cx="2117481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/>
          <p:cNvCxnSpPr/>
          <p:nvPr>
            <p:custDataLst>
              <p:tags r:id="rId36"/>
            </p:custDataLst>
          </p:nvPr>
        </p:nvCxnSpPr>
        <p:spPr bwMode="gray">
          <a:xfrm>
            <a:off x="3848100" y="2202474"/>
            <a:ext cx="0" cy="2983523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/>
          <p:cNvCxnSpPr/>
          <p:nvPr>
            <p:custDataLst>
              <p:tags r:id="rId37"/>
            </p:custDataLst>
          </p:nvPr>
        </p:nvCxnSpPr>
        <p:spPr bwMode="gray">
          <a:xfrm>
            <a:off x="6037385" y="2202474"/>
            <a:ext cx="0" cy="2983523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>
            <p:custDataLst>
              <p:tags r:id="rId38"/>
            </p:custDataLst>
          </p:nvPr>
        </p:nvCxnSpPr>
        <p:spPr bwMode="gray">
          <a:xfrm>
            <a:off x="1658815" y="2202473"/>
            <a:ext cx="0" cy="2983523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Rectangle 129"/>
          <p:cNvSpPr/>
          <p:nvPr>
            <p:custDataLst>
              <p:tags r:id="rId39"/>
            </p:custDataLst>
          </p:nvPr>
        </p:nvSpPr>
        <p:spPr bwMode="gray">
          <a:xfrm>
            <a:off x="7520354" y="3464169"/>
            <a:ext cx="634512" cy="106974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9" name="Rectangle 128"/>
          <p:cNvSpPr/>
          <p:nvPr>
            <p:custDataLst>
              <p:tags r:id="rId40"/>
            </p:custDataLst>
          </p:nvPr>
        </p:nvSpPr>
        <p:spPr bwMode="gray">
          <a:xfrm>
            <a:off x="3282462" y="2971800"/>
            <a:ext cx="4237892" cy="106974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5" name="Rectangle 124"/>
          <p:cNvSpPr/>
          <p:nvPr>
            <p:custDataLst>
              <p:tags r:id="rId41"/>
            </p:custDataLst>
          </p:nvPr>
        </p:nvSpPr>
        <p:spPr bwMode="gray">
          <a:xfrm>
            <a:off x="1667608" y="2971800"/>
            <a:ext cx="1614854" cy="106974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8" name="Rectangle 127"/>
          <p:cNvSpPr/>
          <p:nvPr>
            <p:custDataLst>
              <p:tags r:id="rId42"/>
            </p:custDataLst>
          </p:nvPr>
        </p:nvSpPr>
        <p:spPr bwMode="gray">
          <a:xfrm>
            <a:off x="2718289" y="3464169"/>
            <a:ext cx="4802066" cy="106974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Rectangle 3"/>
          <p:cNvSpPr/>
          <p:nvPr>
            <p:custDataLst>
              <p:tags r:id="rId43"/>
            </p:custDataLst>
          </p:nvPr>
        </p:nvSpPr>
        <p:spPr bwMode="gray">
          <a:xfrm>
            <a:off x="1667608" y="2479431"/>
            <a:ext cx="1897674" cy="106973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61" name="Straight Connector 60"/>
          <p:cNvCxnSpPr/>
          <p:nvPr>
            <p:custDataLst>
              <p:tags r:id="rId44"/>
            </p:custDataLst>
          </p:nvPr>
        </p:nvCxnSpPr>
        <p:spPr bwMode="white">
          <a:xfrm>
            <a:off x="4765431" y="2202473"/>
            <a:ext cx="0" cy="2983523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>
            <p:custDataLst>
              <p:tags r:id="rId45"/>
            </p:custDataLst>
          </p:nvPr>
        </p:nvCxnSpPr>
        <p:spPr bwMode="white">
          <a:xfrm>
            <a:off x="5754566" y="2202473"/>
            <a:ext cx="0" cy="2983523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>
            <p:custDataLst>
              <p:tags r:id="rId46"/>
            </p:custDataLst>
          </p:nvPr>
        </p:nvCxnSpPr>
        <p:spPr bwMode="white">
          <a:xfrm>
            <a:off x="6248400" y="2202473"/>
            <a:ext cx="0" cy="2983523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>
            <p:custDataLst>
              <p:tags r:id="rId47"/>
            </p:custDataLst>
          </p:nvPr>
        </p:nvCxnSpPr>
        <p:spPr bwMode="white">
          <a:xfrm>
            <a:off x="3282462" y="2202473"/>
            <a:ext cx="0" cy="2983523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>
            <p:custDataLst>
              <p:tags r:id="rId48"/>
            </p:custDataLst>
          </p:nvPr>
        </p:nvCxnSpPr>
        <p:spPr bwMode="white">
          <a:xfrm>
            <a:off x="2788627" y="2202473"/>
            <a:ext cx="0" cy="2983523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>
            <p:custDataLst>
              <p:tags r:id="rId49"/>
            </p:custDataLst>
          </p:nvPr>
        </p:nvCxnSpPr>
        <p:spPr bwMode="white">
          <a:xfrm>
            <a:off x="2294792" y="2202473"/>
            <a:ext cx="0" cy="2983523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/>
          <p:nvPr>
            <p:custDataLst>
              <p:tags r:id="rId50"/>
            </p:custDataLst>
          </p:nvPr>
        </p:nvCxnSpPr>
        <p:spPr bwMode="white">
          <a:xfrm>
            <a:off x="8226669" y="2202473"/>
            <a:ext cx="0" cy="2983523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>
            <p:custDataLst>
              <p:tags r:id="rId51"/>
            </p:custDataLst>
          </p:nvPr>
        </p:nvCxnSpPr>
        <p:spPr bwMode="white">
          <a:xfrm>
            <a:off x="6743700" y="2202473"/>
            <a:ext cx="0" cy="2983523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>
            <p:custDataLst>
              <p:tags r:id="rId52"/>
            </p:custDataLst>
          </p:nvPr>
        </p:nvCxnSpPr>
        <p:spPr bwMode="white">
          <a:xfrm>
            <a:off x="3777762" y="2202473"/>
            <a:ext cx="0" cy="2983523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>
            <p:custDataLst>
              <p:tags r:id="rId53"/>
            </p:custDataLst>
          </p:nvPr>
        </p:nvCxnSpPr>
        <p:spPr bwMode="white">
          <a:xfrm>
            <a:off x="7237535" y="2202473"/>
            <a:ext cx="0" cy="2983523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>
            <p:custDataLst>
              <p:tags r:id="rId54"/>
            </p:custDataLst>
          </p:nvPr>
        </p:nvCxnSpPr>
        <p:spPr bwMode="white">
          <a:xfrm>
            <a:off x="7731369" y="2202473"/>
            <a:ext cx="0" cy="2983523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>
            <p:custDataLst>
              <p:tags r:id="rId55"/>
            </p:custDataLst>
          </p:nvPr>
        </p:nvCxnSpPr>
        <p:spPr bwMode="white">
          <a:xfrm>
            <a:off x="4271597" y="2202473"/>
            <a:ext cx="0" cy="2983523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>
            <p:custDataLst>
              <p:tags r:id="rId56"/>
            </p:custDataLst>
          </p:nvPr>
        </p:nvCxnSpPr>
        <p:spPr bwMode="gray">
          <a:xfrm>
            <a:off x="423497" y="3855427"/>
            <a:ext cx="8297008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/>
          <p:nvPr>
            <p:custDataLst>
              <p:tags r:id="rId57"/>
            </p:custDataLst>
          </p:nvPr>
        </p:nvCxnSpPr>
        <p:spPr bwMode="gray">
          <a:xfrm>
            <a:off x="8154866" y="2202474"/>
            <a:ext cx="0" cy="2983523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/>
          <p:cNvCxnSpPr/>
          <p:nvPr>
            <p:custDataLst>
              <p:tags r:id="rId58"/>
            </p:custDataLst>
          </p:nvPr>
        </p:nvCxnSpPr>
        <p:spPr bwMode="gray">
          <a:xfrm>
            <a:off x="1799492" y="2202474"/>
            <a:ext cx="0" cy="2983523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/>
          <p:cNvCxnSpPr/>
          <p:nvPr>
            <p:custDataLst>
              <p:tags r:id="rId59"/>
            </p:custDataLst>
          </p:nvPr>
        </p:nvCxnSpPr>
        <p:spPr bwMode="gray">
          <a:xfrm>
            <a:off x="5260731" y="2202474"/>
            <a:ext cx="0" cy="2983523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/>
          <p:cNvCxnSpPr/>
          <p:nvPr>
            <p:custDataLst>
              <p:tags r:id="rId60"/>
            </p:custDataLst>
          </p:nvPr>
        </p:nvCxnSpPr>
        <p:spPr bwMode="gray">
          <a:xfrm>
            <a:off x="7520354" y="2202474"/>
            <a:ext cx="0" cy="2983523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/>
          <p:cNvCxnSpPr/>
          <p:nvPr>
            <p:custDataLst>
              <p:tags r:id="rId61"/>
            </p:custDataLst>
          </p:nvPr>
        </p:nvCxnSpPr>
        <p:spPr bwMode="gray">
          <a:xfrm>
            <a:off x="423497" y="2202474"/>
            <a:ext cx="8297008" cy="0"/>
          </a:xfrm>
          <a:prstGeom prst="line">
            <a:avLst/>
          </a:prstGeom>
          <a:ln w="1905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ight Bracket 101"/>
          <p:cNvSpPr/>
          <p:nvPr>
            <p:custDataLst>
              <p:tags r:id="rId62"/>
            </p:custDataLst>
          </p:nvPr>
        </p:nvSpPr>
        <p:spPr bwMode="gray">
          <a:xfrm rot="5400000">
            <a:off x="3055327" y="5092212"/>
            <a:ext cx="99646" cy="353158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62"/>
          </a:p>
        </p:txBody>
      </p:sp>
      <p:sp>
        <p:nvSpPr>
          <p:cNvPr id="105" name="Right Bracket 104"/>
          <p:cNvSpPr/>
          <p:nvPr>
            <p:custDataLst>
              <p:tags r:id="rId63"/>
            </p:custDataLst>
          </p:nvPr>
        </p:nvSpPr>
        <p:spPr bwMode="gray">
          <a:xfrm rot="5400000">
            <a:off x="3373315" y="5665177"/>
            <a:ext cx="99646" cy="282820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62"/>
          </a:p>
        </p:txBody>
      </p:sp>
      <p:sp>
        <p:nvSpPr>
          <p:cNvPr id="106" name="Isosceles Triangle 105"/>
          <p:cNvSpPr/>
          <p:nvPr>
            <p:custDataLst>
              <p:tags r:id="rId64"/>
            </p:custDataLst>
          </p:nvPr>
        </p:nvSpPr>
        <p:spPr bwMode="gray">
          <a:xfrm rot="10800000">
            <a:off x="3324958" y="5857143"/>
            <a:ext cx="196362" cy="99646"/>
          </a:xfrm>
          <a:prstGeom prst="triangle">
            <a:avLst/>
          </a:prstGeom>
          <a:solidFill>
            <a:schemeClr val="tx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0" name="Isosceles Triangle 99"/>
          <p:cNvSpPr/>
          <p:nvPr>
            <p:custDataLst>
              <p:tags r:id="rId65"/>
            </p:custDataLst>
          </p:nvPr>
        </p:nvSpPr>
        <p:spPr bwMode="gray">
          <a:xfrm rot="10800000">
            <a:off x="4491405" y="5319346"/>
            <a:ext cx="196362" cy="99646"/>
          </a:xfrm>
          <a:prstGeom prst="triangle">
            <a:avLst/>
          </a:prstGeom>
          <a:solidFill>
            <a:schemeClr val="tx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3" name="Isosceles Triangle 102"/>
          <p:cNvSpPr/>
          <p:nvPr>
            <p:custDataLst>
              <p:tags r:id="rId66"/>
            </p:custDataLst>
          </p:nvPr>
        </p:nvSpPr>
        <p:spPr bwMode="gray">
          <a:xfrm rot="10800000">
            <a:off x="3006969" y="5319346"/>
            <a:ext cx="196362" cy="99646"/>
          </a:xfrm>
          <a:prstGeom prst="triangle">
            <a:avLst/>
          </a:prstGeom>
          <a:solidFill>
            <a:schemeClr val="tx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9" name="Right Bracket 98"/>
          <p:cNvSpPr/>
          <p:nvPr>
            <p:custDataLst>
              <p:tags r:id="rId67"/>
            </p:custDataLst>
          </p:nvPr>
        </p:nvSpPr>
        <p:spPr bwMode="gray">
          <a:xfrm rot="5400000">
            <a:off x="4539762" y="4598377"/>
            <a:ext cx="99646" cy="1342292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62"/>
          </a:p>
        </p:txBody>
      </p:sp>
      <p:sp>
        <p:nvSpPr>
          <p:cNvPr id="132" name="Diamond 131"/>
          <p:cNvSpPr/>
          <p:nvPr>
            <p:custDataLst>
              <p:tags r:id="rId68"/>
            </p:custDataLst>
          </p:nvPr>
        </p:nvSpPr>
        <p:spPr bwMode="gray">
          <a:xfrm>
            <a:off x="7099789" y="4117731"/>
            <a:ext cx="134815" cy="134815"/>
          </a:xfrm>
          <a:prstGeom prst="diamond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4" name="Isosceles Triangle 83"/>
          <p:cNvSpPr/>
          <p:nvPr>
            <p:custDataLst>
              <p:tags r:id="rId69"/>
            </p:custDataLst>
          </p:nvPr>
        </p:nvSpPr>
        <p:spPr bwMode="gray">
          <a:xfrm>
            <a:off x="8087458" y="4618892"/>
            <a:ext cx="134815" cy="117231"/>
          </a:xfrm>
          <a:prstGeom prst="triangle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1" name="Diamond 120"/>
          <p:cNvSpPr/>
          <p:nvPr>
            <p:custDataLst>
              <p:tags r:id="rId70"/>
            </p:custDataLst>
          </p:nvPr>
        </p:nvSpPr>
        <p:spPr bwMode="gray">
          <a:xfrm>
            <a:off x="5474677" y="4117731"/>
            <a:ext cx="134815" cy="134815"/>
          </a:xfrm>
          <a:prstGeom prst="diamond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2" name="Isosceles Triangle 81"/>
          <p:cNvSpPr/>
          <p:nvPr>
            <p:custDataLst>
              <p:tags r:id="rId71"/>
            </p:custDataLst>
          </p:nvPr>
        </p:nvSpPr>
        <p:spPr bwMode="gray">
          <a:xfrm>
            <a:off x="7452946" y="4618892"/>
            <a:ext cx="134815" cy="117231"/>
          </a:xfrm>
          <a:prstGeom prst="triangle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9" name="Diamond 118"/>
          <p:cNvSpPr/>
          <p:nvPr>
            <p:custDataLst>
              <p:tags r:id="rId72"/>
            </p:custDataLst>
          </p:nvPr>
        </p:nvSpPr>
        <p:spPr bwMode="gray">
          <a:xfrm>
            <a:off x="3497874" y="4117731"/>
            <a:ext cx="134815" cy="134815"/>
          </a:xfrm>
          <a:prstGeom prst="diamond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8" name="Isosceles Triangle 77"/>
          <p:cNvSpPr/>
          <p:nvPr>
            <p:custDataLst>
              <p:tags r:id="rId73"/>
            </p:custDataLst>
          </p:nvPr>
        </p:nvSpPr>
        <p:spPr bwMode="gray">
          <a:xfrm>
            <a:off x="5193323" y="4618892"/>
            <a:ext cx="134815" cy="117231"/>
          </a:xfrm>
          <a:prstGeom prst="triangle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7" name="Diamond 116"/>
          <p:cNvSpPr/>
          <p:nvPr>
            <p:custDataLst>
              <p:tags r:id="rId74"/>
            </p:custDataLst>
          </p:nvPr>
        </p:nvSpPr>
        <p:spPr bwMode="gray">
          <a:xfrm>
            <a:off x="2650881" y="4117731"/>
            <a:ext cx="134815" cy="134815"/>
          </a:xfrm>
          <a:prstGeom prst="diamond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9" name="Diamond 108"/>
          <p:cNvSpPr/>
          <p:nvPr>
            <p:custDataLst>
              <p:tags r:id="rId75"/>
            </p:custDataLst>
          </p:nvPr>
        </p:nvSpPr>
        <p:spPr bwMode="gray">
          <a:xfrm>
            <a:off x="1591408" y="4117731"/>
            <a:ext cx="134815" cy="134815"/>
          </a:xfrm>
          <a:prstGeom prst="diamond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7" name="Isosceles Triangle 46"/>
          <p:cNvSpPr/>
          <p:nvPr>
            <p:custDataLst>
              <p:tags r:id="rId76"/>
            </p:custDataLst>
          </p:nvPr>
        </p:nvSpPr>
        <p:spPr bwMode="gray">
          <a:xfrm>
            <a:off x="1732085" y="4618892"/>
            <a:ext cx="134815" cy="117231"/>
          </a:xfrm>
          <a:prstGeom prst="triangle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 useBgFill="1">
        <p:nvSpPr>
          <p:cNvPr id="108" name="Text Placeholder 12"/>
          <p:cNvSpPr>
            <a:spLocks noGrp="1"/>
          </p:cNvSpPr>
          <p:nvPr>
            <p:custDataLst>
              <p:tags r:id="rId77"/>
            </p:custDataLst>
          </p:nvPr>
        </p:nvSpPr>
        <p:spPr bwMode="gray">
          <a:xfrm>
            <a:off x="1562100" y="4273062"/>
            <a:ext cx="193431" cy="140677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CE38D3B-098E-4F40-A9CD-41F9C86D02F1}" type="datetime'''''''''''1''''''''''''''''''''''''''.''''''''''7''.'''''">
              <a:rPr lang="en-US" altLang="en-US" sz="923" b="0"/>
              <a:pPr/>
              <a:t>1.7.</a:t>
            </a:fld>
            <a:endParaRPr lang="en-US" altLang="en-US" sz="923" b="0" dirty="0">
              <a:sym typeface="+mn-lt"/>
            </a:endParaRPr>
          </a:p>
        </p:txBody>
      </p:sp>
      <p:sp useBgFill="1">
        <p:nvSpPr>
          <p:cNvPr id="81" name="Text Placeholder 12"/>
          <p:cNvSpPr>
            <a:spLocks noGrp="1"/>
          </p:cNvSpPr>
          <p:nvPr>
            <p:custDataLst>
              <p:tags r:id="rId78"/>
            </p:custDataLst>
          </p:nvPr>
        </p:nvSpPr>
        <p:spPr bwMode="gray">
          <a:xfrm>
            <a:off x="7391400" y="4756638"/>
            <a:ext cx="257908" cy="281354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923" dirty="0">
                <a:sym typeface="+mn-lt"/>
              </a:rPr>
              <a:t>CP2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fld id="{E9338EA1-4E05-45CA-A068-9B38547C777C}" type="datetime'''''''''''''''''''''''''''''''2''''''''2''''''.9''.'''''''''''">
              <a:rPr lang="en-US" altLang="en-US" sz="923" b="0"/>
              <a:pPr/>
              <a:t>22.9.</a:t>
            </a:fld>
            <a:endParaRPr lang="en-US" sz="923" b="0" dirty="0">
              <a:sym typeface="+mn-lt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custDataLst>
              <p:tags r:id="rId79"/>
            </p:custDataLst>
          </p:nvPr>
        </p:nvSpPr>
        <p:spPr bwMode="gray">
          <a:xfrm>
            <a:off x="511420" y="1995854"/>
            <a:ext cx="507023" cy="168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0577E14-26DA-4FD6-961F-72AD1235AACA}" type="datetime'''A''''''''''c''t''iv''''''''''''i''''t''''''''y'''''">
              <a:rPr lang="en-US" altLang="en-US" sz="1108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Activity</a:t>
            </a:fld>
            <a:endParaRPr lang="en-US" sz="1108" dirty="0">
              <a:sym typeface="+mn-lt"/>
            </a:endParaRPr>
          </a:p>
        </p:txBody>
      </p:sp>
      <p:sp useBgFill="1">
        <p:nvSpPr>
          <p:cNvPr id="83" name="Text Placeholder 12"/>
          <p:cNvSpPr>
            <a:spLocks noGrp="1"/>
          </p:cNvSpPr>
          <p:nvPr>
            <p:custDataLst>
              <p:tags r:id="rId80"/>
            </p:custDataLst>
          </p:nvPr>
        </p:nvSpPr>
        <p:spPr bwMode="gray">
          <a:xfrm>
            <a:off x="7791450" y="4756638"/>
            <a:ext cx="726831" cy="422031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923" b="0" dirty="0">
                <a:sym typeface="+mn-lt"/>
              </a:rPr>
              <a:t>Start of </a:t>
            </a:r>
            <a:br>
              <a:rPr lang="en-US" altLang="en-US" sz="923" b="0" dirty="0">
                <a:sym typeface="+mn-lt"/>
              </a:rPr>
            </a:br>
            <a:r>
              <a:rPr lang="en-US" altLang="en-US" sz="923" b="0" dirty="0">
                <a:sym typeface="+mn-lt"/>
              </a:rPr>
              <a:t>new semester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fld id="{FE4773D0-77D5-476A-A71B-ED522F26CDF6}" type="datetime'1''''.1''''''''''''''''0''''''''''''''''''''''.'">
              <a:rPr lang="en-US" altLang="en-US" sz="923" b="0"/>
              <a:pPr/>
              <a:t>1.10.</a:t>
            </a:fld>
            <a:endParaRPr lang="en-US" sz="923" b="0" dirty="0">
              <a:sym typeface="+mn-lt"/>
            </a:endParaRPr>
          </a:p>
        </p:txBody>
      </p:sp>
      <p:sp useBgFill="1">
        <p:nvSpPr>
          <p:cNvPr id="101" name="Text Placeholder 12"/>
          <p:cNvSpPr>
            <a:spLocks noGrp="1"/>
          </p:cNvSpPr>
          <p:nvPr>
            <p:custDataLst>
              <p:tags r:id="rId81"/>
            </p:custDataLst>
          </p:nvPr>
        </p:nvSpPr>
        <p:spPr bwMode="gray">
          <a:xfrm>
            <a:off x="2778370" y="5435112"/>
            <a:ext cx="655027" cy="281354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923" b="0" dirty="0"/>
              <a:t>FS Hungary 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fld id="{F98E9383-8025-4321-BD9B-EB31F3A0A828}" type="datetime'''''''19''''''''''''''''''.''''''''7''''''''''.'''">
              <a:rPr lang="en-US" altLang="en-US" sz="923" b="0"/>
              <a:pPr/>
              <a:t>19.7.</a:t>
            </a:fld>
            <a:r>
              <a:rPr lang="en-US" altLang="en-US" sz="923" b="0">
                <a:sym typeface="+mn-lt"/>
              </a:rPr>
              <a:t> - </a:t>
            </a:r>
            <a:fld id="{B1DC747C-9205-481F-B097-15CDA7A58F9B}" type="datetime'''''''''''''23''''''''.''''7''''''''''''''.'''''''''''''''">
              <a:rPr lang="en-US" altLang="en-US" sz="923" b="0"/>
              <a:pPr/>
              <a:t>23.7.</a:t>
            </a:fld>
            <a:endParaRPr lang="en-US" sz="923" b="0" dirty="0">
              <a:sym typeface="+mn-lt"/>
            </a:endParaRPr>
          </a:p>
        </p:txBody>
      </p:sp>
      <p:sp useBgFill="1">
        <p:nvSpPr>
          <p:cNvPr id="118" name="Text Placeholder 12"/>
          <p:cNvSpPr>
            <a:spLocks noGrp="1"/>
          </p:cNvSpPr>
          <p:nvPr>
            <p:custDataLst>
              <p:tags r:id="rId82"/>
            </p:custDataLst>
          </p:nvPr>
        </p:nvSpPr>
        <p:spPr bwMode="gray">
          <a:xfrm>
            <a:off x="3436327" y="4273062"/>
            <a:ext cx="257908" cy="140677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4834DD6-FD90-4D6A-9BA3-317C47F95DCC}" type="datetime'''''''''2''''''8''''''''''''''''''''''.''''7.'''''''''''''''''">
              <a:rPr lang="en-US" altLang="en-US" sz="923" b="0"/>
              <a:pPr/>
              <a:t>28.7.</a:t>
            </a:fld>
            <a:endParaRPr lang="en-US" altLang="en-US" sz="923" b="0" dirty="0">
              <a:sym typeface="+mn-lt"/>
            </a:endParaRPr>
          </a:p>
        </p:txBody>
      </p:sp>
      <p:sp useBgFill="1">
        <p:nvSpPr>
          <p:cNvPr id="104" name="Text Placeholder 12"/>
          <p:cNvSpPr>
            <a:spLocks noGrp="1"/>
          </p:cNvSpPr>
          <p:nvPr>
            <p:custDataLst>
              <p:tags r:id="rId83"/>
            </p:custDataLst>
          </p:nvPr>
        </p:nvSpPr>
        <p:spPr bwMode="gray">
          <a:xfrm>
            <a:off x="3113943" y="5972908"/>
            <a:ext cx="619858" cy="281354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923" b="0" dirty="0"/>
              <a:t>Boat trip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fld id="{0A56A02D-D10C-4151-967D-9FE271BCB35D}" type="datetime'''''2''''''''4.''''7''''.'''''''''''''''''''''''''">
              <a:rPr lang="en-US" altLang="en-US" sz="923" b="0"/>
              <a:pPr/>
              <a:t>24.7.</a:t>
            </a:fld>
            <a:r>
              <a:rPr lang="en-US" altLang="en-US" sz="923" b="0" dirty="0">
                <a:sym typeface="+mn-lt"/>
              </a:rPr>
              <a:t> </a:t>
            </a:r>
            <a:r>
              <a:rPr lang="en-US" altLang="en-US" sz="923" b="0">
                <a:sym typeface="+mn-lt"/>
              </a:rPr>
              <a:t>- </a:t>
            </a:r>
            <a:fld id="{DFFC8BF6-E486-4A3F-B961-E7C5C1ACC2EA}" type="datetime'2''''''''''''7.''''''''''''''''''7''''''''''''.'''''''''''''">
              <a:rPr lang="en-US" altLang="en-US" sz="923" b="0"/>
              <a:pPr/>
              <a:t>27.7.</a:t>
            </a:fld>
            <a:endParaRPr lang="en-US" sz="923" b="0" dirty="0">
              <a:sym typeface="+mn-lt"/>
            </a:endParaRPr>
          </a:p>
        </p:txBody>
      </p:sp>
      <p:sp useBgFill="1">
        <p:nvSpPr>
          <p:cNvPr id="120" name="Text Placeholder 12"/>
          <p:cNvSpPr>
            <a:spLocks noGrp="1"/>
          </p:cNvSpPr>
          <p:nvPr>
            <p:custDataLst>
              <p:tags r:id="rId84"/>
            </p:custDataLst>
          </p:nvPr>
        </p:nvSpPr>
        <p:spPr bwMode="gray">
          <a:xfrm>
            <a:off x="5413131" y="4273062"/>
            <a:ext cx="257908" cy="140677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0FF7067-D598-48F6-A02C-AF815915D9BE}" type="datetime'2''''''''''''''''''''''''''5''''.''8.'''''''''''''''''''''''''">
              <a:rPr lang="en-US" altLang="en-US" sz="923" b="0"/>
              <a:pPr/>
              <a:t>25.8.</a:t>
            </a:fld>
            <a:endParaRPr lang="en-US" altLang="en-US" sz="923" b="0" dirty="0">
              <a:sym typeface="+mn-lt"/>
            </a:endParaRPr>
          </a:p>
        </p:txBody>
      </p:sp>
      <p:sp>
        <p:nvSpPr>
          <p:cNvPr id="12" name="Text Placeholder 12"/>
          <p:cNvSpPr>
            <a:spLocks noGrp="1"/>
          </p:cNvSpPr>
          <p:nvPr>
            <p:custDataLst>
              <p:tags r:id="rId85"/>
            </p:custDataLst>
          </p:nvPr>
        </p:nvSpPr>
        <p:spPr bwMode="gray">
          <a:xfrm>
            <a:off x="511420" y="4119197"/>
            <a:ext cx="507023" cy="140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923" dirty="0">
                <a:sym typeface="+mn-lt"/>
              </a:rPr>
              <a:t>Meetings</a:t>
            </a:r>
            <a:endParaRPr lang="en-US" sz="923" dirty="0">
              <a:sym typeface="+mn-lt"/>
            </a:endParaRPr>
          </a:p>
        </p:txBody>
      </p:sp>
      <p:sp useBgFill="1">
        <p:nvSpPr>
          <p:cNvPr id="77" name="Text Placeholder 12"/>
          <p:cNvSpPr>
            <a:spLocks noGrp="1"/>
          </p:cNvSpPr>
          <p:nvPr>
            <p:custDataLst>
              <p:tags r:id="rId86"/>
            </p:custDataLst>
          </p:nvPr>
        </p:nvSpPr>
        <p:spPr bwMode="gray">
          <a:xfrm>
            <a:off x="5131777" y="4756638"/>
            <a:ext cx="257908" cy="281354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923" dirty="0"/>
              <a:t>CP1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fld id="{80576ABC-E277-455F-B62B-BCE89565F2F1}" type="datetime'''''''''''''''''''''''2''0''''''.''''''''8.'''''''''''''">
              <a:rPr lang="en-US" altLang="en-US" sz="923" b="0"/>
              <a:pPr/>
              <a:t>20.8.</a:t>
            </a:fld>
            <a:endParaRPr lang="en-US" sz="923" b="0" dirty="0">
              <a:sym typeface="+mn-lt"/>
            </a:endParaRPr>
          </a:p>
        </p:txBody>
      </p:sp>
      <p:sp useBgFill="1">
        <p:nvSpPr>
          <p:cNvPr id="116" name="Text Placeholder 12"/>
          <p:cNvSpPr>
            <a:spLocks noGrp="1"/>
          </p:cNvSpPr>
          <p:nvPr>
            <p:custDataLst>
              <p:tags r:id="rId87"/>
            </p:custDataLst>
          </p:nvPr>
        </p:nvSpPr>
        <p:spPr bwMode="gray">
          <a:xfrm>
            <a:off x="2589335" y="4273062"/>
            <a:ext cx="257908" cy="140677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A3F4DCC-8746-4042-9718-2CD3A2AD24F2}" type="datetime'''''''''''''16''''.''''7''''''''''''.'''">
              <a:rPr lang="en-US" altLang="en-US" sz="923" b="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6.7.</a:t>
            </a:fld>
            <a:endParaRPr lang="en-US" altLang="en-US" sz="923" b="0" dirty="0">
              <a:sym typeface="+mn-lt"/>
            </a:endParaRPr>
          </a:p>
        </p:txBody>
      </p:sp>
      <p:sp>
        <p:nvSpPr>
          <p:cNvPr id="9" name="Text Placeholder 12"/>
          <p:cNvSpPr>
            <a:spLocks noGrp="1"/>
          </p:cNvSpPr>
          <p:nvPr>
            <p:custDataLst>
              <p:tags r:id="rId88"/>
            </p:custDataLst>
          </p:nvPr>
        </p:nvSpPr>
        <p:spPr bwMode="gray">
          <a:xfrm>
            <a:off x="511420" y="3450981"/>
            <a:ext cx="734158" cy="140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923" dirty="0">
                <a:sym typeface="+mn-lt"/>
              </a:rPr>
              <a:t>Development</a:t>
            </a:r>
            <a:endParaRPr lang="en-US" sz="923" dirty="0">
              <a:sym typeface="+mn-lt"/>
            </a:endParaRPr>
          </a:p>
        </p:txBody>
      </p:sp>
      <p:sp>
        <p:nvSpPr>
          <p:cNvPr id="8" name="Text Placeholder 12"/>
          <p:cNvSpPr>
            <a:spLocks noGrp="1"/>
          </p:cNvSpPr>
          <p:nvPr>
            <p:custDataLst>
              <p:tags r:id="rId89"/>
            </p:custDataLst>
          </p:nvPr>
        </p:nvSpPr>
        <p:spPr bwMode="gray">
          <a:xfrm>
            <a:off x="511420" y="2958612"/>
            <a:ext cx="493835" cy="140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923" dirty="0">
                <a:sym typeface="+mn-lt"/>
              </a:rPr>
              <a:t>Learning</a:t>
            </a:r>
            <a:endParaRPr lang="en-US" sz="923" dirty="0">
              <a:sym typeface="+mn-lt"/>
            </a:endParaRPr>
          </a:p>
        </p:txBody>
      </p:sp>
      <p:sp useBgFill="1">
        <p:nvSpPr>
          <p:cNvPr id="76" name="Text Placeholder 12"/>
          <p:cNvSpPr>
            <a:spLocks noGrp="1"/>
          </p:cNvSpPr>
          <p:nvPr>
            <p:custDataLst>
              <p:tags r:id="rId90"/>
            </p:custDataLst>
          </p:nvPr>
        </p:nvSpPr>
        <p:spPr bwMode="gray">
          <a:xfrm>
            <a:off x="1686659" y="4756638"/>
            <a:ext cx="227135" cy="281354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923" dirty="0"/>
              <a:t>CP0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fld id="{B6DBE9DF-EFDB-4CA4-A7B7-C20F21E9A526}" type="datetime'''''''''''''''''''''3''''''''''''.''''''''7.'''''''">
              <a:rPr lang="en-US" altLang="en-US" sz="923" b="0"/>
              <a:pPr/>
              <a:t>3.7.</a:t>
            </a:fld>
            <a:endParaRPr lang="en-US" altLang="en-US" sz="923" b="0" dirty="0"/>
          </a:p>
        </p:txBody>
      </p:sp>
      <p:sp>
        <p:nvSpPr>
          <p:cNvPr id="7" name="Text Placeholder 12"/>
          <p:cNvSpPr>
            <a:spLocks noGrp="1"/>
          </p:cNvSpPr>
          <p:nvPr>
            <p:custDataLst>
              <p:tags r:id="rId91"/>
            </p:custDataLst>
          </p:nvPr>
        </p:nvSpPr>
        <p:spPr bwMode="gray">
          <a:xfrm>
            <a:off x="511421" y="2466243"/>
            <a:ext cx="1059474" cy="140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923" dirty="0">
                <a:sym typeface="+mn-lt"/>
              </a:rPr>
              <a:t>Document creation</a:t>
            </a:r>
            <a:endParaRPr lang="en-US" sz="923" dirty="0">
              <a:sym typeface="+mn-lt"/>
            </a:endParaRPr>
          </a:p>
        </p:txBody>
      </p:sp>
      <p:sp useBgFill="1">
        <p:nvSpPr>
          <p:cNvPr id="131" name="Text Placeholder 12"/>
          <p:cNvSpPr>
            <a:spLocks noGrp="1"/>
          </p:cNvSpPr>
          <p:nvPr>
            <p:custDataLst>
              <p:tags r:id="rId92"/>
            </p:custDataLst>
          </p:nvPr>
        </p:nvSpPr>
        <p:spPr bwMode="gray">
          <a:xfrm>
            <a:off x="7038243" y="4273062"/>
            <a:ext cx="257908" cy="140677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09CF916-7347-47A2-83DB-5C35DBE481C6}" type="datetime'''''1''''''''''''''''''''''''7.''''''''''9''''.'''''''">
              <a:rPr lang="en-US" altLang="en-US" sz="923" b="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7.9.</a:t>
            </a:fld>
            <a:endParaRPr lang="en-US" altLang="en-US" sz="923" b="0" dirty="0">
              <a:sym typeface="+mn-lt"/>
            </a:endParaRPr>
          </a:p>
        </p:txBody>
      </p:sp>
      <p:sp useBgFill="1">
        <p:nvSpPr>
          <p:cNvPr id="98" name="Text Placeholder 12"/>
          <p:cNvSpPr>
            <a:spLocks noGrp="1"/>
          </p:cNvSpPr>
          <p:nvPr>
            <p:custDataLst>
              <p:tags r:id="rId93"/>
            </p:custDataLst>
          </p:nvPr>
        </p:nvSpPr>
        <p:spPr bwMode="gray">
          <a:xfrm>
            <a:off x="4185139" y="5435112"/>
            <a:ext cx="808892" cy="281354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923" b="0" dirty="0"/>
              <a:t>FS Czech + UK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fld id="{36D2F446-D1C1-40BD-8B9F-51582C7D8CE6}" type="datetime'''2''''''''''''''''''''''''''''''''''''''.''8''''''.'''''''''">
              <a:rPr lang="en-US" altLang="en-US" sz="923" b="0"/>
              <a:pPr/>
              <a:t>2.8.</a:t>
            </a:fld>
            <a:r>
              <a:rPr lang="en-US" altLang="en-US" sz="923" b="0">
                <a:sym typeface="+mn-lt"/>
              </a:rPr>
              <a:t> - </a:t>
            </a:r>
            <a:fld id="{80872C4D-0BBA-4D0E-880E-FAEFE8EDAB71}" type="datetime'''''''20''''''''.''8''''''''''''''.'''">
              <a:rPr lang="en-US" altLang="en-US" sz="923" b="0"/>
              <a:pPr/>
              <a:t>20.8.</a:t>
            </a:fld>
            <a:endParaRPr lang="en-US" sz="923" b="0" dirty="0">
              <a:sym typeface="+mn-lt"/>
            </a:endParaRPr>
          </a:p>
        </p:txBody>
      </p:sp>
      <p:sp>
        <p:nvSpPr>
          <p:cNvPr id="79" name="Text Placeholder 12"/>
          <p:cNvSpPr>
            <a:spLocks noGrp="1"/>
          </p:cNvSpPr>
          <p:nvPr>
            <p:custDataLst>
              <p:tags r:id="rId94"/>
            </p:custDataLst>
          </p:nvPr>
        </p:nvSpPr>
        <p:spPr bwMode="gray">
          <a:xfrm>
            <a:off x="511420" y="4611566"/>
            <a:ext cx="603738" cy="140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923" dirty="0"/>
              <a:t>Milestones</a:t>
            </a:r>
            <a:endParaRPr lang="en-US" sz="923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73522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8565" y="1282650"/>
            <a:ext cx="2914650" cy="1133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13670" y="315756"/>
            <a:ext cx="7794000" cy="1087934"/>
          </a:xfrm>
        </p:spPr>
        <p:txBody>
          <a:bodyPr/>
          <a:lstStyle/>
          <a:p>
            <a:r>
              <a:rPr lang="cs-CZ" dirty="0" err="1" smtClean="0"/>
              <a:t>Current</a:t>
            </a:r>
            <a:r>
              <a:rPr lang="cs-CZ" dirty="0" smtClean="0"/>
              <a:t> status</a:t>
            </a:r>
            <a:endParaRPr lang="cs-CZ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8566" y="2198831"/>
            <a:ext cx="8001000" cy="231380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7262" y="4501623"/>
            <a:ext cx="4113679" cy="174609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40941" y="4591491"/>
            <a:ext cx="3774816" cy="1656226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71591" y="76413"/>
            <a:ext cx="2847975" cy="92392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33216" y="1180654"/>
            <a:ext cx="5086350" cy="1339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61442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13670" y="315756"/>
            <a:ext cx="7794000" cy="1087934"/>
          </a:xfrm>
        </p:spPr>
        <p:txBody>
          <a:bodyPr/>
          <a:lstStyle/>
          <a:p>
            <a:r>
              <a:rPr lang="cs-CZ" dirty="0" err="1" smtClean="0"/>
              <a:t>Domain</a:t>
            </a:r>
            <a:r>
              <a:rPr lang="cs-CZ" dirty="0" smtClean="0"/>
              <a:t> model</a:t>
            </a:r>
            <a:endParaRPr lang="cs-CZ" dirty="0"/>
          </a:p>
        </p:txBody>
      </p:sp>
      <p:pic>
        <p:nvPicPr>
          <p:cNvPr id="4" name="Picture 3" descr="C:\Users\Marek\EAR\EAR_Staffr\docs\WIP\Domain model\domainModel.png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1507" y="1403690"/>
            <a:ext cx="6463623" cy="477000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474253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 %1 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&quot;&gt;&lt;elem m_fUsage=&quot;1.00000000000000000000E+000&quot;&gt;&lt;m_msothmcolidx val=&quot;0&quot;/&gt;&lt;m_rgb r=&quot;9D&quot; g=&quot;CA&quot; b=&quot;A5&quot;/&gt;&lt;m_nBrightness val=&quot;0&quot;/&gt;&lt;/elem&gt;&lt;elem m_fUsage=&quot;9.00000000000000020000E-001&quot;&gt;&lt;m_msothmcolidx val=&quot;0&quot;/&gt;&lt;m_rgb r=&quot;4A&quot; g=&quot;7C&quot; b=&quot;CE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c7fPGmRImElEG1MD_rF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TDioSXQAOo4Ah6BOLeH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nzz1_yRyqgL6mh8X3i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btuy2oRuO0a2sqk0Gnm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KWyDZjRGW6fu0BFmSzo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2X2qqCRjmF7pbIqdJX7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vtuqVyXQQWnidBf.bK_r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DKejAFS5ePV7vnwV8q3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6J85V1LQrioAB9MrKDsE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u1Y2oUQ2Oisw9bj.id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6wmrHhRI2cOgClXBvnk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vkRc48T0iUKskmNMGX4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SdcmDh3RWKOIvEDfsY2b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5rrXEzT0WxZG2s5H7o8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3zKcN_TtKgR1ZybQ1GU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.BOjz8SOqnjsaiXLFWO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WzNdyzTdChDx3wPrqf_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FYWQs9S1u6w4zmCNqQK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xZ.UrIRI2IDc5Ecjkeb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CttYt0S9KeOrpO5xsOI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JCz_R2QZyouUEuTyrM0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QqTlCGGQB.HhUwteC9mc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PRcSNoRuShXwYVgHhVw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04E9xNTJOzqTk1Bhhcj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kp9HqwSg.OWnbfkwgv8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LNTDQPRIOU9roqFlzNO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py6yXvQRu04jIN6mg1A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h8DS03R0yazPOBf93HP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7kTv4wTB6v4S9a2v85K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qV8jioQXyBbI67UbKiA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IzvOdORDqdsRmoYQf8Q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X1pggNTByFPdD.10bg.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I1xqMsQyqljXYQ8CfCU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dX5g08QDOA7ghYQ3nrv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p3pyyRSAagEQz1_gfLE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IdykhBQkSORFnEFJSa7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xbL1h2Qs..NCq0CJqpk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0Rn3V2SWqy2bkhQuZt7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rqE.zhRe24adSifCLet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Y1m6fEQQ6aTwas3e4.e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7iaskfREmju9OyZtfyJ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kwo99JRvitSENHU7wCd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XONlJQQOS_3b4qchvZi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W9iUA4StuhdkYsuyFT5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RJ4YmuRWewXTTJf3wzR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_60Jr_oRoGrzWn44wDhA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niooNlSqSluPL3B7XaK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Vcads4QTu1eOT9Gg1VR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T9laj5QRiX_AGT73SfZ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2y7MnNRjawjsqMYjIVz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0Di9TDSkSXalyYALEts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xsU3LKT1edNpf6rlPwy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nuzo.8R6mYx1ZvoEhiw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oPTcRpS16zicnRfCBAO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0FUpJkQBGILmtiKmz3I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GEzut5QGO0Zwl6KPP66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cej74mSSKzc1pbH5i.3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_wQqjEQCa1dBveDrepr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qKQ9BERE6DtVFaWT75u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xP7.0WTBubginDqfzhq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YJPq.CQhm7W5CfN6XEQ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zvb1cnRxKbQF.RYn2W6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O6dzfUS9ax9iC1NFN0f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oAwFpsSI6micrHMEeYF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1ROm2PuQWyOCIAlBhbTD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i1qQcATI6ASoGuoLJA_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aVXa91QBKQp06LS3H8j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vMihmdRtm2EpFfl06r1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qIIS0VQOejgcNTXotvC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gFmvUKYS8ql0_yGuepYi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TLzLtmSKyvaNeEUQsBO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eApY.3SrWuFsXbt.M3k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NRlEiHQbukPTwMCo9hL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TWaCBmR7.tS6IoBVMHN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WFLagpQDya8EDgDIYev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yBBnXsRFaYD8hCnyDg5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GWpCIlT9iIS.OK15ow3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NkQ4rDRqO2ahphwtyhU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DHqQ06Q8SLdqTH3RMzh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I3Dw1gTuqCf02Q4.Chr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S7EiEhTFiVLo8iNEzkG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mCwQtmSv6TuMaKrkZo7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jzHzVISkOWYEvI0ZMbN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kGUnVWSwyekB.CNTACc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BemzhLSFmUeJAoJbSZU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TjYn3iS4GSfMoXNLDUT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Mfsi9uQdS_OXojZs.bS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1pemODQFeIEchZidCdh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YVe5wVSDG_CJguty0Ci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FQVdtnRgyV4h3M5cB8r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0i9r5wT_iWedkehVmq2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e6KBh2SxKYq9LFgmGUTA"/>
</p:tagLst>
</file>

<file path=ppt/theme/theme1.xml><?xml version="1.0" encoding="utf-8"?>
<a:theme xmlns:a="http://schemas.openxmlformats.org/drawingml/2006/main" name="PowerPoint_CS">
  <a:themeElements>
    <a:clrScheme name="Motiv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chnika">
      <a:majorFont>
        <a:latin typeface="Technika-Bold"/>
        <a:ea typeface=""/>
        <a:cs typeface=""/>
      </a:majorFont>
      <a:minorFont>
        <a:latin typeface="Technika"/>
        <a:ea typeface=""/>
        <a:cs typeface=""/>
      </a:minorFont>
    </a:fontScheme>
    <a:fmtScheme name="Motiv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 CZ.potx" id="{1BD4F44E-F71F-4A14-9EF9-FF6613634235}" vid="{496B007D-76DB-4922-86C8-13F7F6C54EC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oint_CS</Template>
  <TotalTime>8750</TotalTime>
  <Words>105</Words>
  <Application>Microsoft Office PowerPoint</Application>
  <PresentationFormat>On-screen Show (4:3)</PresentationFormat>
  <Paragraphs>62</Paragraphs>
  <Slides>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Technika</vt:lpstr>
      <vt:lpstr>Arial</vt:lpstr>
      <vt:lpstr>Technika-Bold</vt:lpstr>
      <vt:lpstr>Calibri</vt:lpstr>
      <vt:lpstr>PowerPoint_CS</vt:lpstr>
      <vt:lpstr>think-cell Slide</vt:lpstr>
      <vt:lpstr>Project Staffr: Status report v1</vt:lpstr>
      <vt:lpstr>What is Staffr?</vt:lpstr>
      <vt:lpstr>Original Schedule</vt:lpstr>
      <vt:lpstr>Current status</vt:lpstr>
      <vt:lpstr>Domain model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ek</dc:creator>
  <cp:lastModifiedBy>Marek</cp:lastModifiedBy>
  <cp:revision>160</cp:revision>
  <cp:lastPrinted>2017-03-01T18:10:55Z</cp:lastPrinted>
  <dcterms:created xsi:type="dcterms:W3CDTF">2016-12-15T15:45:09Z</dcterms:created>
  <dcterms:modified xsi:type="dcterms:W3CDTF">2018-01-07T14:14:26Z</dcterms:modified>
</cp:coreProperties>
</file>